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4.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tags/tag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9" r:id="rId4"/>
  </p:sldMasterIdLst>
  <p:notesMasterIdLst>
    <p:notesMasterId r:id="rId42"/>
  </p:notesMasterIdLst>
  <p:sldIdLst>
    <p:sldId id="258" r:id="rId5"/>
    <p:sldId id="399" r:id="rId6"/>
    <p:sldId id="1208" r:id="rId7"/>
    <p:sldId id="2128" r:id="rId8"/>
    <p:sldId id="2129" r:id="rId9"/>
    <p:sldId id="10794" r:id="rId10"/>
    <p:sldId id="10793" r:id="rId11"/>
    <p:sldId id="10795" r:id="rId12"/>
    <p:sldId id="1435" r:id="rId13"/>
    <p:sldId id="1436" r:id="rId14"/>
    <p:sldId id="2122" r:id="rId15"/>
    <p:sldId id="2123" r:id="rId16"/>
    <p:sldId id="2121" r:id="rId17"/>
    <p:sldId id="1389" r:id="rId18"/>
    <p:sldId id="1340" r:id="rId19"/>
    <p:sldId id="1399" r:id="rId20"/>
    <p:sldId id="1194" r:id="rId21"/>
    <p:sldId id="10798" r:id="rId22"/>
    <p:sldId id="10800" r:id="rId23"/>
    <p:sldId id="1198" r:id="rId24"/>
    <p:sldId id="1343" r:id="rId25"/>
    <p:sldId id="2134" r:id="rId26"/>
    <p:sldId id="10801" r:id="rId27"/>
    <p:sldId id="10805" r:id="rId28"/>
    <p:sldId id="10806" r:id="rId29"/>
    <p:sldId id="10703" r:id="rId30"/>
    <p:sldId id="10808" r:id="rId31"/>
    <p:sldId id="10803" r:id="rId32"/>
    <p:sldId id="10804" r:id="rId33"/>
    <p:sldId id="847" r:id="rId34"/>
    <p:sldId id="1171" r:id="rId35"/>
    <p:sldId id="850" r:id="rId36"/>
    <p:sldId id="10807" r:id="rId37"/>
    <p:sldId id="1349" r:id="rId38"/>
    <p:sldId id="277" r:id="rId39"/>
    <p:sldId id="10809" r:id="rId40"/>
    <p:sldId id="10810"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191B19-2472-382F-EA3F-CBF579031473}" name="Hanson, Terri" initials="HT" userId="S::Terri.Hanson@tea.texas.gov::a02fd813-d4f3-43fd-83dd-7393041517de" providerId="AD"/>
  <p188:author id="{C9518D25-69F9-9526-63B2-C15EB6E068CC}" name="Butler, David" initials="BD" userId="S::David.Butler@tea.texas.gov::e5831356-7759-43f3-884a-24eb754c7293" providerId="AD"/>
  <p188:author id="{94E8E657-BE84-5DCD-0B20-67E8B1793911}" name="Johnson, Scott" initials="JS" userId="S::Scott.Johnson@tea.texas.gov::bec97677-f0c6-4bfb-b610-83dc74061801" providerId="AD"/>
  <p188:author id="{04816165-A551-92C0-EA48-4DFCE1FE46A9}" name="Simons, Leanne" initials="SL" userId="S::leanne.simons@tea.texas.gov::f0b41770-584b-4844-b5c5-b29dec998724" providerId="AD"/>
  <p188:author id="{0EDAE688-48AF-04B4-4C1B-0C171595B470}" name="Butler, David" initials="BD" userId="S::david.butler@tea.texas.gov::e5831356-7759-43f3-884a-24eb754c729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riggs, Connor" initials="BC" lastIdx="2" clrIdx="6">
    <p:extLst>
      <p:ext uri="{19B8F6BF-5375-455C-9EA6-DF929625EA0E}">
        <p15:presenceInfo xmlns:p15="http://schemas.microsoft.com/office/powerpoint/2012/main" userId="S::connor.briggs@tea.texas.gov::885b7513-d3fa-4947-add1-efc2b24f04bd" providerId="AD"/>
      </p:ext>
    </p:extLst>
  </p:cmAuthor>
  <p:cmAuthor id="1" name="Johnson, Scott" initials="JS" lastIdx="19" clrIdx="0">
    <p:extLst>
      <p:ext uri="{19B8F6BF-5375-455C-9EA6-DF929625EA0E}">
        <p15:presenceInfo xmlns:p15="http://schemas.microsoft.com/office/powerpoint/2012/main" userId="S::Scott.Johnson@tea.texas.gov::bec97677-f0c6-4bfb-b610-83dc74061801" providerId="AD"/>
      </p:ext>
    </p:extLst>
  </p:cmAuthor>
  <p:cmAuthor id="8" name="Sharp, Stephanie" initials="SS" lastIdx="8" clrIdx="7">
    <p:extLst>
      <p:ext uri="{19B8F6BF-5375-455C-9EA6-DF929625EA0E}">
        <p15:presenceInfo xmlns:p15="http://schemas.microsoft.com/office/powerpoint/2012/main" userId="S::Stephanie.Sharp@tea.texas.gov::4b7f997e-11e2-446b-b7b6-32dc105769b7" providerId="AD"/>
      </p:ext>
    </p:extLst>
  </p:cmAuthor>
  <p:cmAuthor id="2" name="Linden, Edward" initials="LE" lastIdx="2" clrIdx="1">
    <p:extLst>
      <p:ext uri="{19B8F6BF-5375-455C-9EA6-DF929625EA0E}">
        <p15:presenceInfo xmlns:p15="http://schemas.microsoft.com/office/powerpoint/2012/main" userId="S::Edward.Linden@tea.texas.gov::433a1750-097b-48bf-9475-b5c5f6172203" providerId="AD"/>
      </p:ext>
    </p:extLst>
  </p:cmAuthor>
  <p:cmAuthor id="9" name="Hanson, Terri" initials="HT" lastIdx="2" clrIdx="8">
    <p:extLst>
      <p:ext uri="{19B8F6BF-5375-455C-9EA6-DF929625EA0E}">
        <p15:presenceInfo xmlns:p15="http://schemas.microsoft.com/office/powerpoint/2012/main" userId="S::Terri.Hanson@tea.texas.gov::a02fd813-d4f3-43fd-83dd-7393041517de" providerId="AD"/>
      </p:ext>
    </p:extLst>
  </p:cmAuthor>
  <p:cmAuthor id="3" name="Simons, Leanne" initials="SL" lastIdx="17" clrIdx="2">
    <p:extLst>
      <p:ext uri="{19B8F6BF-5375-455C-9EA6-DF929625EA0E}">
        <p15:presenceInfo xmlns:p15="http://schemas.microsoft.com/office/powerpoint/2012/main" userId="S::leanne.simons@tea.texas.gov::f0b41770-584b-4844-b5c5-b29dec998724" providerId="AD"/>
      </p:ext>
    </p:extLst>
  </p:cmAuthor>
  <p:cmAuthor id="4" name="Jamie Muffoletto" initials="JM" lastIdx="5" clrIdx="3">
    <p:extLst>
      <p:ext uri="{19B8F6BF-5375-455C-9EA6-DF929625EA0E}">
        <p15:presenceInfo xmlns:p15="http://schemas.microsoft.com/office/powerpoint/2012/main" userId="S::Jamie.Muffoletto@tea.texas.gov::daf1e3c6-8137-448a-b141-d23049d419b5" providerId="AD"/>
      </p:ext>
    </p:extLst>
  </p:cmAuthor>
  <p:cmAuthor id="5" name="Connor Briggs" initials="CB" lastIdx="23" clrIdx="4">
    <p:extLst>
      <p:ext uri="{19B8F6BF-5375-455C-9EA6-DF929625EA0E}">
        <p15:presenceInfo xmlns:p15="http://schemas.microsoft.com/office/powerpoint/2012/main" userId="Connor Briggs" providerId="None"/>
      </p:ext>
    </p:extLst>
  </p:cmAuthor>
  <p:cmAuthor id="6" name="Polo, Beth" initials="PB" lastIdx="3" clrIdx="5">
    <p:extLst>
      <p:ext uri="{19B8F6BF-5375-455C-9EA6-DF929625EA0E}">
        <p15:presenceInfo xmlns:p15="http://schemas.microsoft.com/office/powerpoint/2012/main" userId="S::Beth.Polo@tea.texas.gov::217503ae-afe6-4379-9001-e6919c8c2f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94500"/>
    <a:srgbClr val="6A5487"/>
    <a:srgbClr val="F16038"/>
    <a:srgbClr val="0D6CB9"/>
    <a:srgbClr val="0A518B"/>
    <a:srgbClr val="D93C1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ABFB6EB-264B-4EE7-807E-E684EA6D98F6}" v="144" dt="2022-03-22T18:14:14.474"/>
    <p1510:client id="{87531F9E-59AA-4DA3-9AC6-5DB31F17377D}" v="195" dt="2022-03-23T15:35:18.732"/>
    <p1510:client id="{A628C60F-3B5B-4B7C-81AE-F3FDD89D3CB8}" v="54" dt="2022-03-22T18:44:08.255"/>
    <p1510:client id="{BBD1B24F-42E4-460C-AD26-982954E02A83}" v="39" dt="2022-03-22T18:23:10.807"/>
    <p1510:client id="{E54B4EDA-3F8A-459F-A20A-A8447496F822}" v="3" dt="2022-03-22T18:36:10.79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235" autoAdjust="0"/>
    <p:restoredTop sz="95991" autoAdjust="0"/>
  </p:normalViewPr>
  <p:slideViewPr>
    <p:cSldViewPr snapToGrid="0">
      <p:cViewPr varScale="1">
        <p:scale>
          <a:sx n="79" d="100"/>
          <a:sy n="79" d="100"/>
        </p:scale>
        <p:origin x="1205"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commentAuthors" Target="commentAuthors.xml"/><Relationship Id="rId48" Type="http://schemas.microsoft.com/office/2015/10/relationships/revisionInfo" Target="revisionInfo.xml"/><Relationship Id="rId8" Type="http://schemas.openxmlformats.org/officeDocument/2006/relationships/slide" Target="slides/slide4.xml"/></Relationships>
</file>

<file path=ppt/diagrams/_rels/data11.xml.rels><?xml version="1.0" encoding="UTF-8" standalone="yes"?>
<Relationships xmlns="http://schemas.openxmlformats.org/package/2006/relationships"><Relationship Id="rId3" Type="http://schemas.openxmlformats.org/officeDocument/2006/relationships/image" Target="../media/image37.svg"/><Relationship Id="rId7" Type="http://schemas.microsoft.com/office/2007/relationships/hdphoto" Target="../media/hdphoto1.wdp"/><Relationship Id="rId2" Type="http://schemas.openxmlformats.org/officeDocument/2006/relationships/image" Target="../media/image36.png"/><Relationship Id="rId1" Type="http://schemas.openxmlformats.org/officeDocument/2006/relationships/image" Target="../media/image35.png"/><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diagrams/_rels/data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ata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image" Target="../media/image29.png"/></Relationships>
</file>

<file path=ppt/diagrams/_rels/data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image" Target="../media/image32.jpeg"/></Relationships>
</file>

<file path=ppt/diagrams/_rels/drawing11.xml.rels><?xml version="1.0" encoding="UTF-8" standalone="yes"?>
<Relationships xmlns="http://schemas.openxmlformats.org/package/2006/relationships"><Relationship Id="rId3" Type="http://schemas.openxmlformats.org/officeDocument/2006/relationships/image" Target="../media/image37.svg"/><Relationship Id="rId7" Type="http://schemas.microsoft.com/office/2007/relationships/hdphoto" Target="../media/hdphoto1.wdp"/><Relationship Id="rId2" Type="http://schemas.openxmlformats.org/officeDocument/2006/relationships/image" Target="../media/image36.png"/><Relationship Id="rId1" Type="http://schemas.openxmlformats.org/officeDocument/2006/relationships/image" Target="../media/image35.png"/><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svg"/><Relationship Id="rId1" Type="http://schemas.openxmlformats.org/officeDocument/2006/relationships/image" Target="../media/image22.png"/><Relationship Id="rId6" Type="http://schemas.openxmlformats.org/officeDocument/2006/relationships/image" Target="../media/image27.svg"/><Relationship Id="rId5" Type="http://schemas.openxmlformats.org/officeDocument/2006/relationships/image" Target="../media/image26.png"/><Relationship Id="rId4" Type="http://schemas.openxmlformats.org/officeDocument/2006/relationships/image" Target="../media/image25.svg"/></Relationships>
</file>

<file path=ppt/diagrams/_rels/drawing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image" Target="../media/image29.png"/></Relationships>
</file>

<file path=ppt/diagrams/_rels/drawing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image" Target="../media/image32.jpeg"/></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9B865FD-B321-4D68-889B-B9D35BEEBA56}" type="doc">
      <dgm:prSet loTypeId="urn:microsoft.com/office/officeart/2005/8/layout/process4" loCatId="process" qsTypeId="urn:microsoft.com/office/officeart/2005/8/quickstyle/simple1" qsCatId="simple" csTypeId="urn:microsoft.com/office/officeart/2005/8/colors/accent6_3" csCatId="accent6" phldr="1"/>
      <dgm:spPr/>
      <dgm:t>
        <a:bodyPr/>
        <a:lstStyle/>
        <a:p>
          <a:endParaRPr lang="en-US"/>
        </a:p>
      </dgm:t>
    </dgm:pt>
    <dgm:pt modelId="{D374CB9C-BFFF-4862-BC75-7FBEAA974B61}">
      <dgm:prSet phldrT="[Text]" custT="1"/>
      <dgm:spPr/>
      <dgm:t>
        <a:bodyPr/>
        <a:lstStyle/>
        <a:p>
          <a:r>
            <a:rPr lang="en-US" sz="3600" b="1" dirty="0"/>
            <a:t>DATA LOADING </a:t>
          </a:r>
        </a:p>
      </dgm:t>
    </dgm:pt>
    <dgm:pt modelId="{ACDB8E4A-F993-4A70-A8A0-36F24C14547C}" type="parTrans" cxnId="{790B81A3-ADF0-48E3-877C-006BE20355C7}">
      <dgm:prSet/>
      <dgm:spPr/>
      <dgm:t>
        <a:bodyPr/>
        <a:lstStyle/>
        <a:p>
          <a:endParaRPr lang="en-US"/>
        </a:p>
      </dgm:t>
    </dgm:pt>
    <dgm:pt modelId="{98FD7325-5472-40F2-B0A6-AE7212C5FE89}" type="sibTrans" cxnId="{790B81A3-ADF0-48E3-877C-006BE20355C7}">
      <dgm:prSet/>
      <dgm:spPr/>
      <dgm:t>
        <a:bodyPr/>
        <a:lstStyle/>
        <a:p>
          <a:endParaRPr lang="en-US"/>
        </a:p>
      </dgm:t>
    </dgm:pt>
    <dgm:pt modelId="{4BBA7C3C-6D68-4FA2-8BD2-4C4541C341C9}">
      <dgm:prSet phldrT="[Text]"/>
      <dgm:spPr/>
      <dgm:t>
        <a:bodyPr/>
        <a:lstStyle/>
        <a:p>
          <a:pPr algn="l"/>
          <a:r>
            <a:rPr lang="en-US" dirty="0"/>
            <a:t>LEAs extract data from their source systems in </a:t>
          </a:r>
          <a:r>
            <a:rPr lang="en-US" b="1" dirty="0"/>
            <a:t>eXtensible Markup Language (XML)  </a:t>
          </a:r>
          <a:r>
            <a:rPr lang="en-US" dirty="0"/>
            <a:t>format</a:t>
          </a:r>
        </a:p>
      </dgm:t>
    </dgm:pt>
    <dgm:pt modelId="{3E69BC93-910F-488A-9C88-6D44A1773E02}" type="parTrans" cxnId="{7FE08200-3CAC-49C5-A8FB-025E1494F1F0}">
      <dgm:prSet/>
      <dgm:spPr/>
      <dgm:t>
        <a:bodyPr/>
        <a:lstStyle/>
        <a:p>
          <a:endParaRPr lang="en-US"/>
        </a:p>
      </dgm:t>
    </dgm:pt>
    <dgm:pt modelId="{73898697-CB29-44F0-808E-B3B4C477BD27}" type="sibTrans" cxnId="{7FE08200-3CAC-49C5-A8FB-025E1494F1F0}">
      <dgm:prSet/>
      <dgm:spPr/>
      <dgm:t>
        <a:bodyPr/>
        <a:lstStyle/>
        <a:p>
          <a:endParaRPr lang="en-US"/>
        </a:p>
      </dgm:t>
    </dgm:pt>
    <dgm:pt modelId="{9CD7A90F-CC47-4903-B5C5-83FB2EB2E879}">
      <dgm:prSet phldrT="[Text]"/>
      <dgm:spPr/>
      <dgm:t>
        <a:bodyPr/>
        <a:lstStyle/>
        <a:p>
          <a:pPr algn="l"/>
          <a:r>
            <a:rPr lang="en-US" dirty="0"/>
            <a:t>LEAs </a:t>
          </a:r>
          <a:r>
            <a:rPr lang="en-US" b="1" dirty="0"/>
            <a:t>manually load </a:t>
          </a:r>
          <a:r>
            <a:rPr lang="en-US" dirty="0"/>
            <a:t>the XML files for </a:t>
          </a:r>
          <a:r>
            <a:rPr lang="en-US" b="1" dirty="0"/>
            <a:t>each data collection </a:t>
          </a:r>
          <a:r>
            <a:rPr lang="en-US" dirty="0"/>
            <a:t>into the Operation Data Store (ODS). </a:t>
          </a:r>
        </a:p>
      </dgm:t>
    </dgm:pt>
    <dgm:pt modelId="{06243B57-3641-4029-94E1-5A0DC66405F7}" type="parTrans" cxnId="{169D7E41-CCDC-4E5C-91F4-F25B749007FB}">
      <dgm:prSet/>
      <dgm:spPr/>
      <dgm:t>
        <a:bodyPr/>
        <a:lstStyle/>
        <a:p>
          <a:endParaRPr lang="en-US"/>
        </a:p>
      </dgm:t>
    </dgm:pt>
    <dgm:pt modelId="{83D3E2B9-BD37-4DFF-A3C7-5923525FB631}" type="sibTrans" cxnId="{169D7E41-CCDC-4E5C-91F4-F25B749007FB}">
      <dgm:prSet/>
      <dgm:spPr/>
      <dgm:t>
        <a:bodyPr/>
        <a:lstStyle/>
        <a:p>
          <a:endParaRPr lang="en-US"/>
        </a:p>
      </dgm:t>
    </dgm:pt>
    <dgm:pt modelId="{5E0E7F21-7835-4539-B7FE-89FB5FE575D2}">
      <dgm:prSet phldrT="[Text]" custT="1"/>
      <dgm:spPr/>
      <dgm:t>
        <a:bodyPr/>
        <a:lstStyle/>
        <a:p>
          <a:r>
            <a:rPr lang="en-US" sz="3600" b="1" dirty="0"/>
            <a:t>DATA PROMOTION</a:t>
          </a:r>
        </a:p>
      </dgm:t>
    </dgm:pt>
    <dgm:pt modelId="{2BDBC34B-D529-4360-82C2-CC05C0ED309B}" type="parTrans" cxnId="{8EA48D83-220D-4DFB-9214-DF31C8527B2A}">
      <dgm:prSet/>
      <dgm:spPr/>
      <dgm:t>
        <a:bodyPr/>
        <a:lstStyle/>
        <a:p>
          <a:endParaRPr lang="en-US"/>
        </a:p>
      </dgm:t>
    </dgm:pt>
    <dgm:pt modelId="{72A46676-D34A-4EEF-844E-3EB3CF3D72DF}" type="sibTrans" cxnId="{8EA48D83-220D-4DFB-9214-DF31C8527B2A}">
      <dgm:prSet/>
      <dgm:spPr/>
      <dgm:t>
        <a:bodyPr/>
        <a:lstStyle/>
        <a:p>
          <a:endParaRPr lang="en-US"/>
        </a:p>
      </dgm:t>
    </dgm:pt>
    <dgm:pt modelId="{37DC8F69-6118-423F-8D02-A5901D6CB02B}">
      <dgm:prSet phldrT="[Text]" custT="1"/>
      <dgm:spPr/>
      <dgm:t>
        <a:bodyPr/>
        <a:lstStyle/>
        <a:p>
          <a:pPr algn="l">
            <a:buClrTx/>
            <a:buSzTx/>
            <a:buFontTx/>
            <a:buNone/>
          </a:pPr>
          <a:r>
            <a:rPr lang="en-US" sz="1500" kern="1200" dirty="0">
              <a:solidFill>
                <a:prstClr val="black">
                  <a:hueOff val="0"/>
                  <a:satOff val="0"/>
                  <a:lumOff val="0"/>
                  <a:alphaOff val="0"/>
                </a:prstClr>
              </a:solidFill>
              <a:latin typeface="Calibri" panose="020F0502020204030204"/>
              <a:ea typeface="+mn-ea"/>
              <a:cs typeface="+mn-cs"/>
            </a:rPr>
            <a:t>LEAs </a:t>
          </a:r>
          <a:r>
            <a:rPr lang="en-US" sz="1500" b="1" kern="1200" dirty="0">
              <a:solidFill>
                <a:prstClr val="black">
                  <a:hueOff val="0"/>
                  <a:satOff val="0"/>
                  <a:lumOff val="0"/>
                  <a:alphaOff val="0"/>
                </a:prstClr>
              </a:solidFill>
              <a:latin typeface="Calibri" panose="020F0502020204030204"/>
              <a:ea typeface="+mn-ea"/>
              <a:cs typeface="+mn-cs"/>
            </a:rPr>
            <a:t>promote data </a:t>
          </a:r>
          <a:r>
            <a:rPr lang="en-US" sz="1500" kern="1200" dirty="0">
              <a:solidFill>
                <a:prstClr val="black">
                  <a:hueOff val="0"/>
                  <a:satOff val="0"/>
                  <a:lumOff val="0"/>
                  <a:alphaOff val="0"/>
                </a:prstClr>
              </a:solidFill>
              <a:latin typeface="Calibri" panose="020F0502020204030204"/>
              <a:ea typeface="+mn-ea"/>
              <a:cs typeface="+mn-cs"/>
            </a:rPr>
            <a:t>from the ODS to the TSDS data marts for a specific collection</a:t>
          </a:r>
        </a:p>
      </dgm:t>
    </dgm:pt>
    <dgm:pt modelId="{6296E0EB-2158-46D7-8D4B-C100FC3078BF}" type="parTrans" cxnId="{CD63AE44-D27D-4647-90BF-0EFE0A6DEB7B}">
      <dgm:prSet/>
      <dgm:spPr/>
      <dgm:t>
        <a:bodyPr/>
        <a:lstStyle/>
        <a:p>
          <a:endParaRPr lang="en-US"/>
        </a:p>
      </dgm:t>
    </dgm:pt>
    <dgm:pt modelId="{C08083C5-3776-46A6-B881-8451D72F8443}" type="sibTrans" cxnId="{CD63AE44-D27D-4647-90BF-0EFE0A6DEB7B}">
      <dgm:prSet/>
      <dgm:spPr/>
      <dgm:t>
        <a:bodyPr/>
        <a:lstStyle/>
        <a:p>
          <a:endParaRPr lang="en-US"/>
        </a:p>
      </dgm:t>
    </dgm:pt>
    <dgm:pt modelId="{705DD169-9ABD-4849-BF82-98F3A76FF804}">
      <dgm:prSet phldrT="[Text]"/>
      <dgm:spPr/>
      <dgm:t>
        <a:bodyPr/>
        <a:lstStyle/>
        <a:p>
          <a:pPr algn="l"/>
          <a:r>
            <a:rPr lang="en-US" dirty="0"/>
            <a:t>LEAs </a:t>
          </a:r>
          <a:r>
            <a:rPr lang="en-US" b="1" dirty="0"/>
            <a:t>resolve any issues </a:t>
          </a:r>
          <a:r>
            <a:rPr lang="en-US" dirty="0"/>
            <a:t>preventing data from being promoted and ensure data completeness</a:t>
          </a:r>
        </a:p>
      </dgm:t>
    </dgm:pt>
    <dgm:pt modelId="{7BE82698-8E95-4BC8-92C4-C237EEC64D79}" type="parTrans" cxnId="{6FB57874-BB36-4BB1-9911-BBE363A6A86C}">
      <dgm:prSet/>
      <dgm:spPr/>
      <dgm:t>
        <a:bodyPr/>
        <a:lstStyle/>
        <a:p>
          <a:endParaRPr lang="en-US"/>
        </a:p>
      </dgm:t>
    </dgm:pt>
    <dgm:pt modelId="{E6D2A0B7-D7EA-4958-84AA-3C7882B787E6}" type="sibTrans" cxnId="{6FB57874-BB36-4BB1-9911-BBE363A6A86C}">
      <dgm:prSet/>
      <dgm:spPr/>
      <dgm:t>
        <a:bodyPr/>
        <a:lstStyle/>
        <a:p>
          <a:endParaRPr lang="en-US"/>
        </a:p>
      </dgm:t>
    </dgm:pt>
    <dgm:pt modelId="{A912CBD1-4CB4-4EAA-A250-9C50AED0793B}">
      <dgm:prSet phldrT="[Text]" custT="1"/>
      <dgm:spPr/>
      <dgm:t>
        <a:bodyPr/>
        <a:lstStyle/>
        <a:p>
          <a:r>
            <a:rPr lang="en-US" sz="3600" b="1" dirty="0"/>
            <a:t>DATA VALIDATION </a:t>
          </a:r>
        </a:p>
      </dgm:t>
    </dgm:pt>
    <dgm:pt modelId="{C37F62F7-6957-416A-9AA1-EED5522D53C3}" type="parTrans" cxnId="{1F1E76FD-2BE3-4D2D-8F1C-B73F701E9196}">
      <dgm:prSet/>
      <dgm:spPr/>
      <dgm:t>
        <a:bodyPr/>
        <a:lstStyle/>
        <a:p>
          <a:endParaRPr lang="en-US"/>
        </a:p>
      </dgm:t>
    </dgm:pt>
    <dgm:pt modelId="{353AEBFF-9476-4DD7-9321-9527BAF2B388}" type="sibTrans" cxnId="{1F1E76FD-2BE3-4D2D-8F1C-B73F701E9196}">
      <dgm:prSet/>
      <dgm:spPr/>
      <dgm:t>
        <a:bodyPr/>
        <a:lstStyle/>
        <a:p>
          <a:endParaRPr lang="en-US"/>
        </a:p>
      </dgm:t>
    </dgm:pt>
    <dgm:pt modelId="{1537266E-F983-478C-971C-3860BA6D8531}">
      <dgm:prSet phldrT="[Text]"/>
      <dgm:spPr/>
      <dgm:t>
        <a:bodyPr/>
        <a:lstStyle/>
        <a:p>
          <a:pPr algn="l"/>
          <a:r>
            <a:rPr lang="en-US" dirty="0"/>
            <a:t>LEAs </a:t>
          </a:r>
          <a:r>
            <a:rPr lang="en-US" b="0" dirty="0"/>
            <a:t>run </a:t>
          </a:r>
          <a:r>
            <a:rPr lang="en-US" b="1" dirty="0"/>
            <a:t>validation checks </a:t>
          </a:r>
          <a:r>
            <a:rPr lang="en-US" b="0" dirty="0"/>
            <a:t>and resolve issues by </a:t>
          </a:r>
          <a:r>
            <a:rPr lang="en-US" b="1" dirty="0"/>
            <a:t>updating their source system </a:t>
          </a:r>
          <a:r>
            <a:rPr lang="en-US" b="0" dirty="0"/>
            <a:t>data and </a:t>
          </a:r>
          <a:r>
            <a:rPr lang="en-US" b="1" dirty="0"/>
            <a:t>reloading</a:t>
          </a:r>
        </a:p>
      </dgm:t>
    </dgm:pt>
    <dgm:pt modelId="{7FAA0422-7F37-4E01-AFBF-AEAE6A05B6EF}" type="parTrans" cxnId="{C7D78945-31DF-4E83-91E0-384A01A1CD00}">
      <dgm:prSet/>
      <dgm:spPr/>
      <dgm:t>
        <a:bodyPr/>
        <a:lstStyle/>
        <a:p>
          <a:endParaRPr lang="en-US"/>
        </a:p>
      </dgm:t>
    </dgm:pt>
    <dgm:pt modelId="{54E7C696-CADE-45C6-92FB-2D317F2EAA6E}" type="sibTrans" cxnId="{C7D78945-31DF-4E83-91E0-384A01A1CD00}">
      <dgm:prSet/>
      <dgm:spPr/>
      <dgm:t>
        <a:bodyPr/>
        <a:lstStyle/>
        <a:p>
          <a:endParaRPr lang="en-US"/>
        </a:p>
      </dgm:t>
    </dgm:pt>
    <dgm:pt modelId="{C3027D3D-5F06-437D-B15C-0422D12AF191}">
      <dgm:prSet phldrT="[Text]"/>
      <dgm:spPr/>
      <dgm:t>
        <a:bodyPr/>
        <a:lstStyle/>
        <a:p>
          <a:pPr algn="l"/>
          <a:r>
            <a:rPr lang="en-US" dirty="0"/>
            <a:t>LEAs run </a:t>
          </a:r>
          <a:r>
            <a:rPr lang="en-US" b="1" dirty="0"/>
            <a:t>validation reports </a:t>
          </a:r>
          <a:r>
            <a:rPr lang="en-US" dirty="0"/>
            <a:t>to ensure </a:t>
          </a:r>
          <a:r>
            <a:rPr lang="en-US" b="1" dirty="0"/>
            <a:t>data</a:t>
          </a:r>
          <a:r>
            <a:rPr lang="en-US" dirty="0"/>
            <a:t> </a:t>
          </a:r>
          <a:r>
            <a:rPr lang="en-US" b="1" dirty="0"/>
            <a:t>accuracy</a:t>
          </a:r>
          <a:r>
            <a:rPr lang="en-US" dirty="0"/>
            <a:t> and verify the data collection</a:t>
          </a:r>
        </a:p>
      </dgm:t>
    </dgm:pt>
    <dgm:pt modelId="{EFAD5FE0-406E-462A-B51F-73A660379102}" type="parTrans" cxnId="{839193E1-156A-4D17-93E5-7979DA83D72F}">
      <dgm:prSet/>
      <dgm:spPr/>
      <dgm:t>
        <a:bodyPr/>
        <a:lstStyle/>
        <a:p>
          <a:endParaRPr lang="en-US"/>
        </a:p>
      </dgm:t>
    </dgm:pt>
    <dgm:pt modelId="{159A2C83-CE16-41A0-8C93-CCB711D3EDCD}" type="sibTrans" cxnId="{839193E1-156A-4D17-93E5-7979DA83D72F}">
      <dgm:prSet/>
      <dgm:spPr/>
      <dgm:t>
        <a:bodyPr/>
        <a:lstStyle/>
        <a:p>
          <a:endParaRPr lang="en-US"/>
        </a:p>
      </dgm:t>
    </dgm:pt>
    <dgm:pt modelId="{BA72DDF1-675A-40FE-AB28-693B8BBC20BE}" type="pres">
      <dgm:prSet presAssocID="{59B865FD-B321-4D68-889B-B9D35BEEBA56}" presName="Name0" presStyleCnt="0">
        <dgm:presLayoutVars>
          <dgm:dir/>
          <dgm:animLvl val="lvl"/>
          <dgm:resizeHandles val="exact"/>
        </dgm:presLayoutVars>
      </dgm:prSet>
      <dgm:spPr/>
    </dgm:pt>
    <dgm:pt modelId="{7D0D70D3-C705-49F9-B43D-03EE8BEB0DE6}" type="pres">
      <dgm:prSet presAssocID="{A912CBD1-4CB4-4EAA-A250-9C50AED0793B}" presName="boxAndChildren" presStyleCnt="0"/>
      <dgm:spPr/>
    </dgm:pt>
    <dgm:pt modelId="{2FC5ABFC-07EB-4D9F-88A6-A7F796C36E80}" type="pres">
      <dgm:prSet presAssocID="{A912CBD1-4CB4-4EAA-A250-9C50AED0793B}" presName="parentTextBox" presStyleLbl="node1" presStyleIdx="0" presStyleCnt="3"/>
      <dgm:spPr/>
    </dgm:pt>
    <dgm:pt modelId="{D90AEB70-5DE0-4816-8834-36BAFCE43FDD}" type="pres">
      <dgm:prSet presAssocID="{A912CBD1-4CB4-4EAA-A250-9C50AED0793B}" presName="entireBox" presStyleLbl="node1" presStyleIdx="0" presStyleCnt="3"/>
      <dgm:spPr/>
    </dgm:pt>
    <dgm:pt modelId="{11499A86-0D32-4141-BF26-000BA3F15CFD}" type="pres">
      <dgm:prSet presAssocID="{A912CBD1-4CB4-4EAA-A250-9C50AED0793B}" presName="descendantBox" presStyleCnt="0"/>
      <dgm:spPr/>
    </dgm:pt>
    <dgm:pt modelId="{8ACBD7F8-C7BA-4D6F-8992-571D9A1B751A}" type="pres">
      <dgm:prSet presAssocID="{1537266E-F983-478C-971C-3860BA6D8531}" presName="childTextBox" presStyleLbl="fgAccFollowNode1" presStyleIdx="0" presStyleCnt="6">
        <dgm:presLayoutVars>
          <dgm:bulletEnabled val="1"/>
        </dgm:presLayoutVars>
      </dgm:prSet>
      <dgm:spPr/>
    </dgm:pt>
    <dgm:pt modelId="{43D1F44D-376E-4CA0-8F8A-D37A6B92C90F}" type="pres">
      <dgm:prSet presAssocID="{C3027D3D-5F06-437D-B15C-0422D12AF191}" presName="childTextBox" presStyleLbl="fgAccFollowNode1" presStyleIdx="1" presStyleCnt="6">
        <dgm:presLayoutVars>
          <dgm:bulletEnabled val="1"/>
        </dgm:presLayoutVars>
      </dgm:prSet>
      <dgm:spPr/>
    </dgm:pt>
    <dgm:pt modelId="{F90C3570-5177-4126-8F87-B7E8903AE30D}" type="pres">
      <dgm:prSet presAssocID="{72A46676-D34A-4EEF-844E-3EB3CF3D72DF}" presName="sp" presStyleCnt="0"/>
      <dgm:spPr/>
    </dgm:pt>
    <dgm:pt modelId="{C846609B-937F-44ED-8A90-3F68D6772E1B}" type="pres">
      <dgm:prSet presAssocID="{5E0E7F21-7835-4539-B7FE-89FB5FE575D2}" presName="arrowAndChildren" presStyleCnt="0"/>
      <dgm:spPr/>
    </dgm:pt>
    <dgm:pt modelId="{4DB803B5-1B0D-45AE-8FBD-8F4E423308E2}" type="pres">
      <dgm:prSet presAssocID="{5E0E7F21-7835-4539-B7FE-89FB5FE575D2}" presName="parentTextArrow" presStyleLbl="node1" presStyleIdx="0" presStyleCnt="3"/>
      <dgm:spPr/>
    </dgm:pt>
    <dgm:pt modelId="{AF66379D-0F4D-4E19-900F-9DD2B7BA06BB}" type="pres">
      <dgm:prSet presAssocID="{5E0E7F21-7835-4539-B7FE-89FB5FE575D2}" presName="arrow" presStyleLbl="node1" presStyleIdx="1" presStyleCnt="3"/>
      <dgm:spPr/>
    </dgm:pt>
    <dgm:pt modelId="{1EC3BDD7-0032-4B55-BF8A-E93F357E3545}" type="pres">
      <dgm:prSet presAssocID="{5E0E7F21-7835-4539-B7FE-89FB5FE575D2}" presName="descendantArrow" presStyleCnt="0"/>
      <dgm:spPr/>
    </dgm:pt>
    <dgm:pt modelId="{688C9203-8A5C-4653-AB64-6AACDDE8291C}" type="pres">
      <dgm:prSet presAssocID="{37DC8F69-6118-423F-8D02-A5901D6CB02B}" presName="childTextArrow" presStyleLbl="fgAccFollowNode1" presStyleIdx="2" presStyleCnt="6">
        <dgm:presLayoutVars>
          <dgm:bulletEnabled val="1"/>
        </dgm:presLayoutVars>
      </dgm:prSet>
      <dgm:spPr/>
    </dgm:pt>
    <dgm:pt modelId="{B7EF99A6-46CD-497E-AE59-75F978248A52}" type="pres">
      <dgm:prSet presAssocID="{705DD169-9ABD-4849-BF82-98F3A76FF804}" presName="childTextArrow" presStyleLbl="fgAccFollowNode1" presStyleIdx="3" presStyleCnt="6">
        <dgm:presLayoutVars>
          <dgm:bulletEnabled val="1"/>
        </dgm:presLayoutVars>
      </dgm:prSet>
      <dgm:spPr/>
    </dgm:pt>
    <dgm:pt modelId="{36BA2FE5-276D-4900-A9C1-9E9895622DE8}" type="pres">
      <dgm:prSet presAssocID="{98FD7325-5472-40F2-B0A6-AE7212C5FE89}" presName="sp" presStyleCnt="0"/>
      <dgm:spPr/>
    </dgm:pt>
    <dgm:pt modelId="{C8AFF016-DEE7-4F31-B13B-15069DF1680A}" type="pres">
      <dgm:prSet presAssocID="{D374CB9C-BFFF-4862-BC75-7FBEAA974B61}" presName="arrowAndChildren" presStyleCnt="0"/>
      <dgm:spPr/>
    </dgm:pt>
    <dgm:pt modelId="{A1CB80CF-BBFB-46CA-9F6C-20DB709EFBA6}" type="pres">
      <dgm:prSet presAssocID="{D374CB9C-BFFF-4862-BC75-7FBEAA974B61}" presName="parentTextArrow" presStyleLbl="node1" presStyleIdx="1" presStyleCnt="3"/>
      <dgm:spPr/>
    </dgm:pt>
    <dgm:pt modelId="{02485D3C-D9BC-4773-A867-4F3A70399E43}" type="pres">
      <dgm:prSet presAssocID="{D374CB9C-BFFF-4862-BC75-7FBEAA974B61}" presName="arrow" presStyleLbl="node1" presStyleIdx="2" presStyleCnt="3"/>
      <dgm:spPr/>
    </dgm:pt>
    <dgm:pt modelId="{D254EF57-8798-4404-9857-676102EFC493}" type="pres">
      <dgm:prSet presAssocID="{D374CB9C-BFFF-4862-BC75-7FBEAA974B61}" presName="descendantArrow" presStyleCnt="0"/>
      <dgm:spPr/>
    </dgm:pt>
    <dgm:pt modelId="{8A8C8043-FFBA-4A28-AB72-DB524C670959}" type="pres">
      <dgm:prSet presAssocID="{4BBA7C3C-6D68-4FA2-8BD2-4C4541C341C9}" presName="childTextArrow" presStyleLbl="fgAccFollowNode1" presStyleIdx="4" presStyleCnt="6">
        <dgm:presLayoutVars>
          <dgm:bulletEnabled val="1"/>
        </dgm:presLayoutVars>
      </dgm:prSet>
      <dgm:spPr/>
    </dgm:pt>
    <dgm:pt modelId="{45BE7F73-EEF5-4764-9284-5B93672CE7CA}" type="pres">
      <dgm:prSet presAssocID="{9CD7A90F-CC47-4903-B5C5-83FB2EB2E879}" presName="childTextArrow" presStyleLbl="fgAccFollowNode1" presStyleIdx="5" presStyleCnt="6">
        <dgm:presLayoutVars>
          <dgm:bulletEnabled val="1"/>
        </dgm:presLayoutVars>
      </dgm:prSet>
      <dgm:spPr/>
    </dgm:pt>
  </dgm:ptLst>
  <dgm:cxnLst>
    <dgm:cxn modelId="{7FE08200-3CAC-49C5-A8FB-025E1494F1F0}" srcId="{D374CB9C-BFFF-4862-BC75-7FBEAA974B61}" destId="{4BBA7C3C-6D68-4FA2-8BD2-4C4541C341C9}" srcOrd="0" destOrd="0" parTransId="{3E69BC93-910F-488A-9C88-6D44A1773E02}" sibTransId="{73898697-CB29-44F0-808E-B3B4C477BD27}"/>
    <dgm:cxn modelId="{0B0BCE06-2339-4585-BBFF-421F3510246B}" type="presOf" srcId="{705DD169-9ABD-4849-BF82-98F3A76FF804}" destId="{B7EF99A6-46CD-497E-AE59-75F978248A52}" srcOrd="0" destOrd="0" presId="urn:microsoft.com/office/officeart/2005/8/layout/process4"/>
    <dgm:cxn modelId="{167A5D0C-6A03-488A-950A-3478064B7AA3}" type="presOf" srcId="{C3027D3D-5F06-437D-B15C-0422D12AF191}" destId="{43D1F44D-376E-4CA0-8F8A-D37A6B92C90F}" srcOrd="0" destOrd="0" presId="urn:microsoft.com/office/officeart/2005/8/layout/process4"/>
    <dgm:cxn modelId="{509ADC0F-D7E4-4304-B1E6-B27B89B0BE7C}" type="presOf" srcId="{D374CB9C-BFFF-4862-BC75-7FBEAA974B61}" destId="{02485D3C-D9BC-4773-A867-4F3A70399E43}" srcOrd="1" destOrd="0" presId="urn:microsoft.com/office/officeart/2005/8/layout/process4"/>
    <dgm:cxn modelId="{5C0EE32B-B64A-4E1F-A9DF-940B8F30A55B}" type="presOf" srcId="{A912CBD1-4CB4-4EAA-A250-9C50AED0793B}" destId="{D90AEB70-5DE0-4816-8834-36BAFCE43FDD}" srcOrd="1" destOrd="0" presId="urn:microsoft.com/office/officeart/2005/8/layout/process4"/>
    <dgm:cxn modelId="{169D7E41-CCDC-4E5C-91F4-F25B749007FB}" srcId="{D374CB9C-BFFF-4862-BC75-7FBEAA974B61}" destId="{9CD7A90F-CC47-4903-B5C5-83FB2EB2E879}" srcOrd="1" destOrd="0" parTransId="{06243B57-3641-4029-94E1-5A0DC66405F7}" sibTransId="{83D3E2B9-BD37-4DFF-A3C7-5923525FB631}"/>
    <dgm:cxn modelId="{A7679D64-62EA-449D-AB78-5CA5B9CC91CE}" type="presOf" srcId="{59B865FD-B321-4D68-889B-B9D35BEEBA56}" destId="{BA72DDF1-675A-40FE-AB28-693B8BBC20BE}" srcOrd="0" destOrd="0" presId="urn:microsoft.com/office/officeart/2005/8/layout/process4"/>
    <dgm:cxn modelId="{CD63AE44-D27D-4647-90BF-0EFE0A6DEB7B}" srcId="{5E0E7F21-7835-4539-B7FE-89FB5FE575D2}" destId="{37DC8F69-6118-423F-8D02-A5901D6CB02B}" srcOrd="0" destOrd="0" parTransId="{6296E0EB-2158-46D7-8D4B-C100FC3078BF}" sibTransId="{C08083C5-3776-46A6-B881-8451D72F8443}"/>
    <dgm:cxn modelId="{C7D78945-31DF-4E83-91E0-384A01A1CD00}" srcId="{A912CBD1-4CB4-4EAA-A250-9C50AED0793B}" destId="{1537266E-F983-478C-971C-3860BA6D8531}" srcOrd="0" destOrd="0" parTransId="{7FAA0422-7F37-4E01-AFBF-AEAE6A05B6EF}" sibTransId="{54E7C696-CADE-45C6-92FB-2D317F2EAA6E}"/>
    <dgm:cxn modelId="{6FB57874-BB36-4BB1-9911-BBE363A6A86C}" srcId="{5E0E7F21-7835-4539-B7FE-89FB5FE575D2}" destId="{705DD169-9ABD-4849-BF82-98F3A76FF804}" srcOrd="1" destOrd="0" parTransId="{7BE82698-8E95-4BC8-92C4-C237EEC64D79}" sibTransId="{E6D2A0B7-D7EA-4958-84AA-3C7882B787E6}"/>
    <dgm:cxn modelId="{47126E80-AD10-48CF-B6DC-31916FDC55B2}" type="presOf" srcId="{5E0E7F21-7835-4539-B7FE-89FB5FE575D2}" destId="{4DB803B5-1B0D-45AE-8FBD-8F4E423308E2}" srcOrd="0" destOrd="0" presId="urn:microsoft.com/office/officeart/2005/8/layout/process4"/>
    <dgm:cxn modelId="{8EA48D83-220D-4DFB-9214-DF31C8527B2A}" srcId="{59B865FD-B321-4D68-889B-B9D35BEEBA56}" destId="{5E0E7F21-7835-4539-B7FE-89FB5FE575D2}" srcOrd="1" destOrd="0" parTransId="{2BDBC34B-D529-4360-82C2-CC05C0ED309B}" sibTransId="{72A46676-D34A-4EEF-844E-3EB3CF3D72DF}"/>
    <dgm:cxn modelId="{70E2059B-D5B7-41E7-8361-9F8F338D7F45}" type="presOf" srcId="{5E0E7F21-7835-4539-B7FE-89FB5FE575D2}" destId="{AF66379D-0F4D-4E19-900F-9DD2B7BA06BB}" srcOrd="1" destOrd="0" presId="urn:microsoft.com/office/officeart/2005/8/layout/process4"/>
    <dgm:cxn modelId="{790B81A3-ADF0-48E3-877C-006BE20355C7}" srcId="{59B865FD-B321-4D68-889B-B9D35BEEBA56}" destId="{D374CB9C-BFFF-4862-BC75-7FBEAA974B61}" srcOrd="0" destOrd="0" parTransId="{ACDB8E4A-F993-4A70-A8A0-36F24C14547C}" sibTransId="{98FD7325-5472-40F2-B0A6-AE7212C5FE89}"/>
    <dgm:cxn modelId="{2149BAA9-E795-47EA-808F-577EED6C5E9E}" type="presOf" srcId="{37DC8F69-6118-423F-8D02-A5901D6CB02B}" destId="{688C9203-8A5C-4653-AB64-6AACDDE8291C}" srcOrd="0" destOrd="0" presId="urn:microsoft.com/office/officeart/2005/8/layout/process4"/>
    <dgm:cxn modelId="{32522EBF-9FFE-40C0-BF03-5B6704618484}" type="presOf" srcId="{9CD7A90F-CC47-4903-B5C5-83FB2EB2E879}" destId="{45BE7F73-EEF5-4764-9284-5B93672CE7CA}" srcOrd="0" destOrd="0" presId="urn:microsoft.com/office/officeart/2005/8/layout/process4"/>
    <dgm:cxn modelId="{2B7527C3-9AB2-4AC7-AAB2-A5D1F76A12D8}" type="presOf" srcId="{1537266E-F983-478C-971C-3860BA6D8531}" destId="{8ACBD7F8-C7BA-4D6F-8992-571D9A1B751A}" srcOrd="0" destOrd="0" presId="urn:microsoft.com/office/officeart/2005/8/layout/process4"/>
    <dgm:cxn modelId="{839193E1-156A-4D17-93E5-7979DA83D72F}" srcId="{A912CBD1-4CB4-4EAA-A250-9C50AED0793B}" destId="{C3027D3D-5F06-437D-B15C-0422D12AF191}" srcOrd="1" destOrd="0" parTransId="{EFAD5FE0-406E-462A-B51F-73A660379102}" sibTransId="{159A2C83-CE16-41A0-8C93-CCB711D3EDCD}"/>
    <dgm:cxn modelId="{33B5A2E6-AA4E-47EA-8963-56267CB655EA}" type="presOf" srcId="{A912CBD1-4CB4-4EAA-A250-9C50AED0793B}" destId="{2FC5ABFC-07EB-4D9F-88A6-A7F796C36E80}" srcOrd="0" destOrd="0" presId="urn:microsoft.com/office/officeart/2005/8/layout/process4"/>
    <dgm:cxn modelId="{62F8ECF6-BE02-4764-9AE2-3A633DEA5AA5}" type="presOf" srcId="{D374CB9C-BFFF-4862-BC75-7FBEAA974B61}" destId="{A1CB80CF-BBFB-46CA-9F6C-20DB709EFBA6}" srcOrd="0" destOrd="0" presId="urn:microsoft.com/office/officeart/2005/8/layout/process4"/>
    <dgm:cxn modelId="{320C43FD-6ECA-411E-B37E-581F5C8369B5}" type="presOf" srcId="{4BBA7C3C-6D68-4FA2-8BD2-4C4541C341C9}" destId="{8A8C8043-FFBA-4A28-AB72-DB524C670959}" srcOrd="0" destOrd="0" presId="urn:microsoft.com/office/officeart/2005/8/layout/process4"/>
    <dgm:cxn modelId="{1F1E76FD-2BE3-4D2D-8F1C-B73F701E9196}" srcId="{59B865FD-B321-4D68-889B-B9D35BEEBA56}" destId="{A912CBD1-4CB4-4EAA-A250-9C50AED0793B}" srcOrd="2" destOrd="0" parTransId="{C37F62F7-6957-416A-9AA1-EED5522D53C3}" sibTransId="{353AEBFF-9476-4DD7-9321-9527BAF2B388}"/>
    <dgm:cxn modelId="{597F470A-DFF9-458B-B1BE-4ED364FC028E}" type="presParOf" srcId="{BA72DDF1-675A-40FE-AB28-693B8BBC20BE}" destId="{7D0D70D3-C705-49F9-B43D-03EE8BEB0DE6}" srcOrd="0" destOrd="0" presId="urn:microsoft.com/office/officeart/2005/8/layout/process4"/>
    <dgm:cxn modelId="{9E3D106F-A8D4-4E1D-BCDC-D9AEABAFE698}" type="presParOf" srcId="{7D0D70D3-C705-49F9-B43D-03EE8BEB0DE6}" destId="{2FC5ABFC-07EB-4D9F-88A6-A7F796C36E80}" srcOrd="0" destOrd="0" presId="urn:microsoft.com/office/officeart/2005/8/layout/process4"/>
    <dgm:cxn modelId="{1F520B70-1C87-4881-9334-EEDBDC30A279}" type="presParOf" srcId="{7D0D70D3-C705-49F9-B43D-03EE8BEB0DE6}" destId="{D90AEB70-5DE0-4816-8834-36BAFCE43FDD}" srcOrd="1" destOrd="0" presId="urn:microsoft.com/office/officeart/2005/8/layout/process4"/>
    <dgm:cxn modelId="{95091BCA-42FC-4B87-B611-DC8E0E247864}" type="presParOf" srcId="{7D0D70D3-C705-49F9-B43D-03EE8BEB0DE6}" destId="{11499A86-0D32-4141-BF26-000BA3F15CFD}" srcOrd="2" destOrd="0" presId="urn:microsoft.com/office/officeart/2005/8/layout/process4"/>
    <dgm:cxn modelId="{94CFB271-2987-40E6-B12B-E5F53C6C166B}" type="presParOf" srcId="{11499A86-0D32-4141-BF26-000BA3F15CFD}" destId="{8ACBD7F8-C7BA-4D6F-8992-571D9A1B751A}" srcOrd="0" destOrd="0" presId="urn:microsoft.com/office/officeart/2005/8/layout/process4"/>
    <dgm:cxn modelId="{28CE8E1F-4CA0-4E73-BF7D-98CA65292319}" type="presParOf" srcId="{11499A86-0D32-4141-BF26-000BA3F15CFD}" destId="{43D1F44D-376E-4CA0-8F8A-D37A6B92C90F}" srcOrd="1" destOrd="0" presId="urn:microsoft.com/office/officeart/2005/8/layout/process4"/>
    <dgm:cxn modelId="{0D11551E-14A3-4799-B00C-0EDFBECCFA2D}" type="presParOf" srcId="{BA72DDF1-675A-40FE-AB28-693B8BBC20BE}" destId="{F90C3570-5177-4126-8F87-B7E8903AE30D}" srcOrd="1" destOrd="0" presId="urn:microsoft.com/office/officeart/2005/8/layout/process4"/>
    <dgm:cxn modelId="{A28755AC-53B6-436D-92BE-262E47BA2095}" type="presParOf" srcId="{BA72DDF1-675A-40FE-AB28-693B8BBC20BE}" destId="{C846609B-937F-44ED-8A90-3F68D6772E1B}" srcOrd="2" destOrd="0" presId="urn:microsoft.com/office/officeart/2005/8/layout/process4"/>
    <dgm:cxn modelId="{1B4DC985-9440-4D51-B248-44AF9A1E02DE}" type="presParOf" srcId="{C846609B-937F-44ED-8A90-3F68D6772E1B}" destId="{4DB803B5-1B0D-45AE-8FBD-8F4E423308E2}" srcOrd="0" destOrd="0" presId="urn:microsoft.com/office/officeart/2005/8/layout/process4"/>
    <dgm:cxn modelId="{1394D2E1-88C7-4C34-A0B3-32C9728921CC}" type="presParOf" srcId="{C846609B-937F-44ED-8A90-3F68D6772E1B}" destId="{AF66379D-0F4D-4E19-900F-9DD2B7BA06BB}" srcOrd="1" destOrd="0" presId="urn:microsoft.com/office/officeart/2005/8/layout/process4"/>
    <dgm:cxn modelId="{8AFF1923-DF1B-497B-AA8A-5D92D3BF95C5}" type="presParOf" srcId="{C846609B-937F-44ED-8A90-3F68D6772E1B}" destId="{1EC3BDD7-0032-4B55-BF8A-E93F357E3545}" srcOrd="2" destOrd="0" presId="urn:microsoft.com/office/officeart/2005/8/layout/process4"/>
    <dgm:cxn modelId="{CE3025A3-D703-424E-A612-1E0819B090C7}" type="presParOf" srcId="{1EC3BDD7-0032-4B55-BF8A-E93F357E3545}" destId="{688C9203-8A5C-4653-AB64-6AACDDE8291C}" srcOrd="0" destOrd="0" presId="urn:microsoft.com/office/officeart/2005/8/layout/process4"/>
    <dgm:cxn modelId="{8B198798-63D8-407B-8766-9121A580EECC}" type="presParOf" srcId="{1EC3BDD7-0032-4B55-BF8A-E93F357E3545}" destId="{B7EF99A6-46CD-497E-AE59-75F978248A52}" srcOrd="1" destOrd="0" presId="urn:microsoft.com/office/officeart/2005/8/layout/process4"/>
    <dgm:cxn modelId="{C0F7E684-63A1-4330-B71A-29A8E0F3A957}" type="presParOf" srcId="{BA72DDF1-675A-40FE-AB28-693B8BBC20BE}" destId="{36BA2FE5-276D-4900-A9C1-9E9895622DE8}" srcOrd="3" destOrd="0" presId="urn:microsoft.com/office/officeart/2005/8/layout/process4"/>
    <dgm:cxn modelId="{328B1D6B-89DC-45DC-BE04-1BEFEA7413AE}" type="presParOf" srcId="{BA72DDF1-675A-40FE-AB28-693B8BBC20BE}" destId="{C8AFF016-DEE7-4F31-B13B-15069DF1680A}" srcOrd="4" destOrd="0" presId="urn:microsoft.com/office/officeart/2005/8/layout/process4"/>
    <dgm:cxn modelId="{8563BF35-B39C-4D3A-A868-C8CC94FBAFDF}" type="presParOf" srcId="{C8AFF016-DEE7-4F31-B13B-15069DF1680A}" destId="{A1CB80CF-BBFB-46CA-9F6C-20DB709EFBA6}" srcOrd="0" destOrd="0" presId="urn:microsoft.com/office/officeart/2005/8/layout/process4"/>
    <dgm:cxn modelId="{671C894F-C05F-40D7-9C9E-3C177BAF92ED}" type="presParOf" srcId="{C8AFF016-DEE7-4F31-B13B-15069DF1680A}" destId="{02485D3C-D9BC-4773-A867-4F3A70399E43}" srcOrd="1" destOrd="0" presId="urn:microsoft.com/office/officeart/2005/8/layout/process4"/>
    <dgm:cxn modelId="{93AF62FB-0A95-4F39-AE5F-468D598CF605}" type="presParOf" srcId="{C8AFF016-DEE7-4F31-B13B-15069DF1680A}" destId="{D254EF57-8798-4404-9857-676102EFC493}" srcOrd="2" destOrd="0" presId="urn:microsoft.com/office/officeart/2005/8/layout/process4"/>
    <dgm:cxn modelId="{973B9F7C-AECB-4340-990B-4BEB9DC07956}" type="presParOf" srcId="{D254EF57-8798-4404-9857-676102EFC493}" destId="{8A8C8043-FFBA-4A28-AB72-DB524C670959}" srcOrd="0" destOrd="0" presId="urn:microsoft.com/office/officeart/2005/8/layout/process4"/>
    <dgm:cxn modelId="{D10BECA8-AD3F-4729-B158-350D87BC96AB}" type="presParOf" srcId="{D254EF57-8798-4404-9857-676102EFC493}" destId="{45BE7F73-EEF5-4764-9284-5B93672CE7CA}" srcOrd="1" destOrd="0" presId="urn:microsoft.com/office/officeart/2005/8/layout/process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BBEAD74B-1265-4188-BECE-5F642D35B8AD}" type="doc">
      <dgm:prSet loTypeId="urn:microsoft.com/office/officeart/2005/8/layout/equation2" loCatId="relationship" qsTypeId="urn:microsoft.com/office/officeart/2005/8/quickstyle/simple4" qsCatId="simple" csTypeId="urn:microsoft.com/office/officeart/2005/8/colors/accent1_2" csCatId="accent1" phldr="1"/>
      <dgm:spPr/>
      <dgm:t>
        <a:bodyPr/>
        <a:lstStyle/>
        <a:p>
          <a:endParaRPr lang="en-US"/>
        </a:p>
      </dgm:t>
    </dgm:pt>
    <dgm:pt modelId="{20605947-BCCF-4231-A380-3F6EF4B5C8B9}">
      <dgm:prSet phldrT="[Text]"/>
      <dgm:spPr/>
      <dgm:t>
        <a:bodyPr/>
        <a:lstStyle/>
        <a:p>
          <a:r>
            <a:rPr lang="en-US" dirty="0"/>
            <a:t>Source System Vendors</a:t>
          </a:r>
        </a:p>
      </dgm:t>
    </dgm:pt>
    <dgm:pt modelId="{5C41052F-AF6C-4B80-9884-9D6CE8513DC9}" type="parTrans" cxnId="{21D2CE33-CA92-4E7A-B99A-629B104877BB}">
      <dgm:prSet/>
      <dgm:spPr/>
      <dgm:t>
        <a:bodyPr/>
        <a:lstStyle/>
        <a:p>
          <a:endParaRPr lang="en-US"/>
        </a:p>
      </dgm:t>
    </dgm:pt>
    <dgm:pt modelId="{DA47E8F7-90B3-4CAF-96DA-B3E2828C54FE}" type="sibTrans" cxnId="{21D2CE33-CA92-4E7A-B99A-629B104877BB}">
      <dgm:prSet/>
      <dgm:spPr/>
      <dgm:t>
        <a:bodyPr/>
        <a:lstStyle/>
        <a:p>
          <a:endParaRPr lang="en-US" dirty="0"/>
        </a:p>
      </dgm:t>
    </dgm:pt>
    <dgm:pt modelId="{7E23D76B-A217-4163-8A08-AAD080104CDF}">
      <dgm:prSet phldrT="[Text]"/>
      <dgm:spPr/>
      <dgm:t>
        <a:bodyPr/>
        <a:lstStyle/>
        <a:p>
          <a:r>
            <a:rPr lang="en-US" dirty="0"/>
            <a:t>Parallel LEAs</a:t>
          </a:r>
        </a:p>
      </dgm:t>
    </dgm:pt>
    <dgm:pt modelId="{56E6650C-B27A-456A-95FC-1C8236E43C70}" type="parTrans" cxnId="{706527B9-6153-4AB9-83C4-11E352C2BD58}">
      <dgm:prSet/>
      <dgm:spPr/>
      <dgm:t>
        <a:bodyPr/>
        <a:lstStyle/>
        <a:p>
          <a:endParaRPr lang="en-US"/>
        </a:p>
      </dgm:t>
    </dgm:pt>
    <dgm:pt modelId="{9982A714-8986-48F7-85C1-54AD572B9DCF}" type="sibTrans" cxnId="{706527B9-6153-4AB9-83C4-11E352C2BD58}">
      <dgm:prSet/>
      <dgm:spPr/>
      <dgm:t>
        <a:bodyPr/>
        <a:lstStyle/>
        <a:p>
          <a:endParaRPr lang="en-US" dirty="0"/>
        </a:p>
      </dgm:t>
    </dgm:pt>
    <dgm:pt modelId="{AA65B948-6276-4364-AF1C-855096C1A64C}">
      <dgm:prSet phldrT="[Text]"/>
      <dgm:spPr/>
      <dgm:t>
        <a:bodyPr/>
        <a:lstStyle/>
        <a:p>
          <a:r>
            <a:rPr lang="en-US" dirty="0"/>
            <a:t>ODS 3.x Readiness</a:t>
          </a:r>
        </a:p>
      </dgm:t>
    </dgm:pt>
    <dgm:pt modelId="{E556335E-83CD-4972-9789-1E0AB03C5094}" type="parTrans" cxnId="{7CE3AC18-E312-4687-9535-9FC2021CAED2}">
      <dgm:prSet/>
      <dgm:spPr/>
      <dgm:t>
        <a:bodyPr/>
        <a:lstStyle/>
        <a:p>
          <a:endParaRPr lang="en-US"/>
        </a:p>
      </dgm:t>
    </dgm:pt>
    <dgm:pt modelId="{D1DFCCD7-E7EA-4AFA-A305-7CA82023C7C9}" type="sibTrans" cxnId="{7CE3AC18-E312-4687-9535-9FC2021CAED2}">
      <dgm:prSet/>
      <dgm:spPr/>
      <dgm:t>
        <a:bodyPr/>
        <a:lstStyle/>
        <a:p>
          <a:endParaRPr lang="en-US"/>
        </a:p>
      </dgm:t>
    </dgm:pt>
    <dgm:pt modelId="{A7C40942-D608-4041-B9A3-10728639A2D4}" type="pres">
      <dgm:prSet presAssocID="{BBEAD74B-1265-4188-BECE-5F642D35B8AD}" presName="Name0" presStyleCnt="0">
        <dgm:presLayoutVars>
          <dgm:dir/>
          <dgm:resizeHandles val="exact"/>
        </dgm:presLayoutVars>
      </dgm:prSet>
      <dgm:spPr/>
    </dgm:pt>
    <dgm:pt modelId="{E1E9A5DB-AF72-48E5-A7A0-508401FB18EF}" type="pres">
      <dgm:prSet presAssocID="{BBEAD74B-1265-4188-BECE-5F642D35B8AD}" presName="vNodes" presStyleCnt="0"/>
      <dgm:spPr/>
    </dgm:pt>
    <dgm:pt modelId="{7ECEBC48-F836-44D1-9426-37DF5CA343BE}" type="pres">
      <dgm:prSet presAssocID="{20605947-BCCF-4231-A380-3F6EF4B5C8B9}" presName="node" presStyleLbl="node1" presStyleIdx="0" presStyleCnt="3">
        <dgm:presLayoutVars>
          <dgm:bulletEnabled val="1"/>
        </dgm:presLayoutVars>
      </dgm:prSet>
      <dgm:spPr/>
    </dgm:pt>
    <dgm:pt modelId="{C4E41DA9-CFBF-41D0-B043-00EE1F42CF53}" type="pres">
      <dgm:prSet presAssocID="{DA47E8F7-90B3-4CAF-96DA-B3E2828C54FE}" presName="spacerT" presStyleCnt="0"/>
      <dgm:spPr/>
    </dgm:pt>
    <dgm:pt modelId="{9266645E-7C2D-473D-AF0C-713718949583}" type="pres">
      <dgm:prSet presAssocID="{DA47E8F7-90B3-4CAF-96DA-B3E2828C54FE}" presName="sibTrans" presStyleLbl="sibTrans2D1" presStyleIdx="0" presStyleCnt="2"/>
      <dgm:spPr/>
    </dgm:pt>
    <dgm:pt modelId="{16458C9C-CE0C-4D74-B57B-AB561FE70E6E}" type="pres">
      <dgm:prSet presAssocID="{DA47E8F7-90B3-4CAF-96DA-B3E2828C54FE}" presName="spacerB" presStyleCnt="0"/>
      <dgm:spPr/>
    </dgm:pt>
    <dgm:pt modelId="{796F8AD8-2B55-4719-A171-02DC562FF68A}" type="pres">
      <dgm:prSet presAssocID="{7E23D76B-A217-4163-8A08-AAD080104CDF}" presName="node" presStyleLbl="node1" presStyleIdx="1" presStyleCnt="3">
        <dgm:presLayoutVars>
          <dgm:bulletEnabled val="1"/>
        </dgm:presLayoutVars>
      </dgm:prSet>
      <dgm:spPr/>
    </dgm:pt>
    <dgm:pt modelId="{64F149AD-DF5D-484E-8718-DADC631FF62E}" type="pres">
      <dgm:prSet presAssocID="{BBEAD74B-1265-4188-BECE-5F642D35B8AD}" presName="sibTransLast" presStyleLbl="sibTrans2D1" presStyleIdx="1" presStyleCnt="2"/>
      <dgm:spPr/>
    </dgm:pt>
    <dgm:pt modelId="{483C94C9-78CA-40DA-9264-36B0B3A9E991}" type="pres">
      <dgm:prSet presAssocID="{BBEAD74B-1265-4188-BECE-5F642D35B8AD}" presName="connectorText" presStyleLbl="sibTrans2D1" presStyleIdx="1" presStyleCnt="2"/>
      <dgm:spPr/>
    </dgm:pt>
    <dgm:pt modelId="{7849E603-C27C-49A9-801A-CF6CD7DD0790}" type="pres">
      <dgm:prSet presAssocID="{BBEAD74B-1265-4188-BECE-5F642D35B8AD}" presName="lastNode" presStyleLbl="node1" presStyleIdx="2" presStyleCnt="3">
        <dgm:presLayoutVars>
          <dgm:bulletEnabled val="1"/>
        </dgm:presLayoutVars>
      </dgm:prSet>
      <dgm:spPr/>
    </dgm:pt>
  </dgm:ptLst>
  <dgm:cxnLst>
    <dgm:cxn modelId="{DBCFA603-431B-44FC-97C7-2A22FBA8BDC1}" type="presOf" srcId="{DA47E8F7-90B3-4CAF-96DA-B3E2828C54FE}" destId="{9266645E-7C2D-473D-AF0C-713718949583}" srcOrd="0" destOrd="0" presId="urn:microsoft.com/office/officeart/2005/8/layout/equation2"/>
    <dgm:cxn modelId="{A39C3918-9C73-44BF-9345-693ED6BD94E3}" type="presOf" srcId="{AA65B948-6276-4364-AF1C-855096C1A64C}" destId="{7849E603-C27C-49A9-801A-CF6CD7DD0790}" srcOrd="0" destOrd="0" presId="urn:microsoft.com/office/officeart/2005/8/layout/equation2"/>
    <dgm:cxn modelId="{7CE3AC18-E312-4687-9535-9FC2021CAED2}" srcId="{BBEAD74B-1265-4188-BECE-5F642D35B8AD}" destId="{AA65B948-6276-4364-AF1C-855096C1A64C}" srcOrd="2" destOrd="0" parTransId="{E556335E-83CD-4972-9789-1E0AB03C5094}" sibTransId="{D1DFCCD7-E7EA-4AFA-A305-7CA82023C7C9}"/>
    <dgm:cxn modelId="{21D2CE33-CA92-4E7A-B99A-629B104877BB}" srcId="{BBEAD74B-1265-4188-BECE-5F642D35B8AD}" destId="{20605947-BCCF-4231-A380-3F6EF4B5C8B9}" srcOrd="0" destOrd="0" parTransId="{5C41052F-AF6C-4B80-9884-9D6CE8513DC9}" sibTransId="{DA47E8F7-90B3-4CAF-96DA-B3E2828C54FE}"/>
    <dgm:cxn modelId="{706527B9-6153-4AB9-83C4-11E352C2BD58}" srcId="{BBEAD74B-1265-4188-BECE-5F642D35B8AD}" destId="{7E23D76B-A217-4163-8A08-AAD080104CDF}" srcOrd="1" destOrd="0" parTransId="{56E6650C-B27A-456A-95FC-1C8236E43C70}" sibTransId="{9982A714-8986-48F7-85C1-54AD572B9DCF}"/>
    <dgm:cxn modelId="{3A7756C7-CD60-4813-B152-A5442811E98D}" type="presOf" srcId="{7E23D76B-A217-4163-8A08-AAD080104CDF}" destId="{796F8AD8-2B55-4719-A171-02DC562FF68A}" srcOrd="0" destOrd="0" presId="urn:microsoft.com/office/officeart/2005/8/layout/equation2"/>
    <dgm:cxn modelId="{D19BE3CC-12C5-4635-983F-572787FD5122}" type="presOf" srcId="{20605947-BCCF-4231-A380-3F6EF4B5C8B9}" destId="{7ECEBC48-F836-44D1-9426-37DF5CA343BE}" srcOrd="0" destOrd="0" presId="urn:microsoft.com/office/officeart/2005/8/layout/equation2"/>
    <dgm:cxn modelId="{6C68F5DB-0860-4FDE-8701-765D7937D1BB}" type="presOf" srcId="{9982A714-8986-48F7-85C1-54AD572B9DCF}" destId="{483C94C9-78CA-40DA-9264-36B0B3A9E991}" srcOrd="1" destOrd="0" presId="urn:microsoft.com/office/officeart/2005/8/layout/equation2"/>
    <dgm:cxn modelId="{12D401DE-6449-46B9-91D6-62F6BE439727}" type="presOf" srcId="{9982A714-8986-48F7-85C1-54AD572B9DCF}" destId="{64F149AD-DF5D-484E-8718-DADC631FF62E}" srcOrd="0" destOrd="0" presId="urn:microsoft.com/office/officeart/2005/8/layout/equation2"/>
    <dgm:cxn modelId="{E7AA77E8-60D6-4FBA-B3CA-C6E32A1738BA}" type="presOf" srcId="{BBEAD74B-1265-4188-BECE-5F642D35B8AD}" destId="{A7C40942-D608-4041-B9A3-10728639A2D4}" srcOrd="0" destOrd="0" presId="urn:microsoft.com/office/officeart/2005/8/layout/equation2"/>
    <dgm:cxn modelId="{93DD3259-C55D-4907-A844-6AED8D7E40A5}" type="presParOf" srcId="{A7C40942-D608-4041-B9A3-10728639A2D4}" destId="{E1E9A5DB-AF72-48E5-A7A0-508401FB18EF}" srcOrd="0" destOrd="0" presId="urn:microsoft.com/office/officeart/2005/8/layout/equation2"/>
    <dgm:cxn modelId="{394CF5EC-E74F-4B23-9444-19F651C2A66E}" type="presParOf" srcId="{E1E9A5DB-AF72-48E5-A7A0-508401FB18EF}" destId="{7ECEBC48-F836-44D1-9426-37DF5CA343BE}" srcOrd="0" destOrd="0" presId="urn:microsoft.com/office/officeart/2005/8/layout/equation2"/>
    <dgm:cxn modelId="{C49D2E08-B5F3-4F19-A278-08CC197FE75F}" type="presParOf" srcId="{E1E9A5DB-AF72-48E5-A7A0-508401FB18EF}" destId="{C4E41DA9-CFBF-41D0-B043-00EE1F42CF53}" srcOrd="1" destOrd="0" presId="urn:microsoft.com/office/officeart/2005/8/layout/equation2"/>
    <dgm:cxn modelId="{7D150C9A-983C-4DD8-A602-F2038EA5CC02}" type="presParOf" srcId="{E1E9A5DB-AF72-48E5-A7A0-508401FB18EF}" destId="{9266645E-7C2D-473D-AF0C-713718949583}" srcOrd="2" destOrd="0" presId="urn:microsoft.com/office/officeart/2005/8/layout/equation2"/>
    <dgm:cxn modelId="{092EA39F-F04D-41BA-ACBE-B7953316EE34}" type="presParOf" srcId="{E1E9A5DB-AF72-48E5-A7A0-508401FB18EF}" destId="{16458C9C-CE0C-4D74-B57B-AB561FE70E6E}" srcOrd="3" destOrd="0" presId="urn:microsoft.com/office/officeart/2005/8/layout/equation2"/>
    <dgm:cxn modelId="{05C97B5A-5A4F-4391-9602-7D0B21E61048}" type="presParOf" srcId="{E1E9A5DB-AF72-48E5-A7A0-508401FB18EF}" destId="{796F8AD8-2B55-4719-A171-02DC562FF68A}" srcOrd="4" destOrd="0" presId="urn:microsoft.com/office/officeart/2005/8/layout/equation2"/>
    <dgm:cxn modelId="{B7E04B13-99D4-4DBE-9660-CC0217BD512A}" type="presParOf" srcId="{A7C40942-D608-4041-B9A3-10728639A2D4}" destId="{64F149AD-DF5D-484E-8718-DADC631FF62E}" srcOrd="1" destOrd="0" presId="urn:microsoft.com/office/officeart/2005/8/layout/equation2"/>
    <dgm:cxn modelId="{0C0B84E6-9860-4581-85B5-DE2172571486}" type="presParOf" srcId="{64F149AD-DF5D-484E-8718-DADC631FF62E}" destId="{483C94C9-78CA-40DA-9264-36B0B3A9E991}" srcOrd="0" destOrd="0" presId="urn:microsoft.com/office/officeart/2005/8/layout/equation2"/>
    <dgm:cxn modelId="{6BD9CA14-990A-4622-8196-C7B84746BA18}" type="presParOf" srcId="{A7C40942-D608-4041-B9A3-10728639A2D4}" destId="{7849E603-C27C-49A9-801A-CF6CD7DD0790}" srcOrd="2" destOrd="0" presId="urn:microsoft.com/office/officeart/2005/8/layout/equati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DB7A836-5143-409B-9A16-731EFADB2763}"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25F4D30D-B72E-464F-8A20-0A530DA80C9B}">
      <dgm:prSet custT="1"/>
      <dgm:spPr/>
      <dgm:t>
        <a:bodyPr anchor="t" anchorCtr="0"/>
        <a:lstStyle/>
        <a:p>
          <a:pPr>
            <a:lnSpc>
              <a:spcPct val="100000"/>
            </a:lnSpc>
          </a:pPr>
          <a:r>
            <a:rPr lang="en-US" sz="1800" dirty="0"/>
            <a:t>LEAs submit TSDS data through </a:t>
          </a:r>
          <a:r>
            <a:rPr lang="en-US" sz="1800" b="1" dirty="0"/>
            <a:t>API transactions, rather than XML </a:t>
          </a:r>
          <a:r>
            <a:rPr lang="en-US" sz="1800" dirty="0"/>
            <a:t>and review business validations locally.</a:t>
          </a:r>
        </a:p>
      </dgm:t>
    </dgm:pt>
    <dgm:pt modelId="{33327C62-3D7D-40A2-8758-64D856EC2178}" type="parTrans" cxnId="{A68AC32B-28B1-4F05-95D3-C932320D0AE9}">
      <dgm:prSet/>
      <dgm:spPr/>
      <dgm:t>
        <a:bodyPr/>
        <a:lstStyle/>
        <a:p>
          <a:endParaRPr lang="en-US"/>
        </a:p>
      </dgm:t>
    </dgm:pt>
    <dgm:pt modelId="{C2406D30-8123-4F5E-B403-B1B3FCB34B71}" type="sibTrans" cxnId="{A68AC32B-28B1-4F05-95D3-C932320D0AE9}">
      <dgm:prSet/>
      <dgm:spPr/>
      <dgm:t>
        <a:bodyPr/>
        <a:lstStyle/>
        <a:p>
          <a:endParaRPr lang="en-US"/>
        </a:p>
      </dgm:t>
    </dgm:pt>
    <dgm:pt modelId="{35D82119-22A7-43F2-A7E5-9BDCBD2AA9BB}">
      <dgm:prSet custT="1"/>
      <dgm:spPr/>
      <dgm:t>
        <a:bodyPr/>
        <a:lstStyle/>
        <a:p>
          <a:pPr>
            <a:lnSpc>
              <a:spcPct val="100000"/>
            </a:lnSpc>
          </a:pPr>
          <a:r>
            <a:rPr lang="en-US" sz="1800" dirty="0"/>
            <a:t>LEAs will be provided their </a:t>
          </a:r>
          <a:r>
            <a:rPr lang="en-US" sz="1800" b="1" dirty="0"/>
            <a:t>own Ed-Fi ODS (Landing Zone) </a:t>
          </a:r>
          <a:r>
            <a:rPr lang="en-US" sz="1800" dirty="0"/>
            <a:t>for local validations and reporting.</a:t>
          </a:r>
        </a:p>
      </dgm:t>
    </dgm:pt>
    <dgm:pt modelId="{95D98F66-AC27-4718-A1E3-B39F6B05984C}" type="parTrans" cxnId="{34859967-4B36-4240-8AFB-397DACF843FC}">
      <dgm:prSet/>
      <dgm:spPr/>
      <dgm:t>
        <a:bodyPr/>
        <a:lstStyle/>
        <a:p>
          <a:endParaRPr lang="en-US"/>
        </a:p>
      </dgm:t>
    </dgm:pt>
    <dgm:pt modelId="{C8F7802F-FA84-4BCE-902B-4BF0C793C7B5}" type="sibTrans" cxnId="{34859967-4B36-4240-8AFB-397DACF843FC}">
      <dgm:prSet/>
      <dgm:spPr/>
      <dgm:t>
        <a:bodyPr/>
        <a:lstStyle/>
        <a:p>
          <a:endParaRPr lang="en-US"/>
        </a:p>
      </dgm:t>
    </dgm:pt>
    <dgm:pt modelId="{A8F25083-BC3E-47BA-8EB0-3A718A14EAE5}">
      <dgm:prSet custT="1"/>
      <dgm:spPr/>
      <dgm:t>
        <a:bodyPr anchor="t" anchorCtr="0"/>
        <a:lstStyle/>
        <a:p>
          <a:pPr>
            <a:lnSpc>
              <a:spcPct val="100000"/>
            </a:lnSpc>
          </a:pPr>
          <a:r>
            <a:rPr lang="en-US" sz="1800" b="0" dirty="0"/>
            <a:t>LEAs</a:t>
          </a:r>
          <a:r>
            <a:rPr lang="en-US" sz="1800" b="1" dirty="0"/>
            <a:t> </a:t>
          </a:r>
          <a:r>
            <a:rPr lang="en-US" sz="1800" b="0" dirty="0"/>
            <a:t>should </a:t>
          </a:r>
          <a:r>
            <a:rPr lang="en-US" sz="1800" b="1" dirty="0"/>
            <a:t>contact their vendors  </a:t>
          </a:r>
          <a:r>
            <a:rPr lang="en-US" sz="1800" dirty="0"/>
            <a:t>to participate in the parallel submission year and ensure vendor readiness. </a:t>
          </a:r>
        </a:p>
      </dgm:t>
    </dgm:pt>
    <dgm:pt modelId="{815B6253-3293-4846-879E-977BDA9BB843}" type="parTrans" cxnId="{63A7AF5C-526B-4482-AB74-CF6D69A1F858}">
      <dgm:prSet/>
      <dgm:spPr/>
      <dgm:t>
        <a:bodyPr/>
        <a:lstStyle/>
        <a:p>
          <a:endParaRPr lang="en-US"/>
        </a:p>
      </dgm:t>
    </dgm:pt>
    <dgm:pt modelId="{CB717676-9F7D-4EF6-8FDB-430B03C637F0}" type="sibTrans" cxnId="{63A7AF5C-526B-4482-AB74-CF6D69A1F858}">
      <dgm:prSet/>
      <dgm:spPr/>
      <dgm:t>
        <a:bodyPr/>
        <a:lstStyle/>
        <a:p>
          <a:endParaRPr lang="en-US"/>
        </a:p>
      </dgm:t>
    </dgm:pt>
    <dgm:pt modelId="{36DC280A-CD55-4665-B5E4-5E8E0F906C65}">
      <dgm:prSet custT="1"/>
      <dgm:spPr/>
      <dgm:t>
        <a:bodyPr anchor="ctr" anchorCtr="0"/>
        <a:lstStyle/>
        <a:p>
          <a:pPr>
            <a:lnSpc>
              <a:spcPct val="100000"/>
            </a:lnSpc>
          </a:pPr>
          <a:r>
            <a:rPr lang="en-US" sz="1800" dirty="0"/>
            <a:t>2021-2022 Pilot Program</a:t>
          </a:r>
        </a:p>
        <a:p>
          <a:pPr>
            <a:lnSpc>
              <a:spcPct val="100000"/>
            </a:lnSpc>
          </a:pPr>
          <a:r>
            <a:rPr lang="en-US" sz="1800" dirty="0"/>
            <a:t>2022-2023 Parallel Year</a:t>
          </a:r>
        </a:p>
        <a:p>
          <a:pPr>
            <a:lnSpc>
              <a:spcPct val="100000"/>
            </a:lnSpc>
          </a:pPr>
          <a:r>
            <a:rPr lang="en-US" sz="1800" b="1" dirty="0"/>
            <a:t>2023-2024 Go-Live</a:t>
          </a:r>
        </a:p>
      </dgm:t>
    </dgm:pt>
    <dgm:pt modelId="{0CC82F48-325C-4FB6-8F12-B49759A8635D}" type="parTrans" cxnId="{DE9CEA54-B3A7-4B0E-9088-1ED0EF0EA229}">
      <dgm:prSet/>
      <dgm:spPr/>
      <dgm:t>
        <a:bodyPr/>
        <a:lstStyle/>
        <a:p>
          <a:endParaRPr lang="en-US"/>
        </a:p>
      </dgm:t>
    </dgm:pt>
    <dgm:pt modelId="{A9BF894B-46C7-4F4C-8B7A-FCC2EF089CFD}" type="sibTrans" cxnId="{DE9CEA54-B3A7-4B0E-9088-1ED0EF0EA229}">
      <dgm:prSet/>
      <dgm:spPr/>
      <dgm:t>
        <a:bodyPr/>
        <a:lstStyle/>
        <a:p>
          <a:endParaRPr lang="en-US"/>
        </a:p>
      </dgm:t>
    </dgm:pt>
    <dgm:pt modelId="{40785628-3722-4E66-99DD-32BDCAA824B0}" type="pres">
      <dgm:prSet presAssocID="{8DB7A836-5143-409B-9A16-731EFADB2763}" presName="root" presStyleCnt="0">
        <dgm:presLayoutVars>
          <dgm:dir/>
          <dgm:resizeHandles val="exact"/>
        </dgm:presLayoutVars>
      </dgm:prSet>
      <dgm:spPr/>
    </dgm:pt>
    <dgm:pt modelId="{B6E665F4-E97B-4F87-8BB3-BE0B27EC77CD}" type="pres">
      <dgm:prSet presAssocID="{25F4D30D-B72E-464F-8A20-0A530DA80C9B}" presName="compNode" presStyleCnt="0"/>
      <dgm:spPr/>
    </dgm:pt>
    <dgm:pt modelId="{1F218BE6-29E0-478E-ADAA-F9BCA00755CD}" type="pres">
      <dgm:prSet presAssocID="{25F4D30D-B72E-464F-8A20-0A530DA80C9B}" presName="bgRect" presStyleLbl="bgShp" presStyleIdx="0" presStyleCnt="4"/>
      <dgm:spPr/>
    </dgm:pt>
    <dgm:pt modelId="{3D9E6714-B90C-486F-84EA-6FB8F8760170}" type="pres">
      <dgm:prSet presAssocID="{25F4D30D-B72E-464F-8A20-0A530DA80C9B}" presName="iconRect" presStyleLbl="node1" presStyleIdx="0" presStyleCnt="4"/>
      <dgm:spPr>
        <a:blipFill rotWithShape="1">
          <a:blip xmlns:r="http://schemas.openxmlformats.org/officeDocument/2006/relationships" r:embed="rId1">
            <a:duotone>
              <a:srgbClr val="0D6CB9">
                <a:shade val="45000"/>
                <a:satMod val="135000"/>
              </a:srgbClr>
              <a:prstClr val="white"/>
            </a:duotone>
            <a:extLst>
              <a:ext uri="{28A0092B-C50C-407E-A947-70E740481C1C}">
                <a14:useLocalDpi xmlns:a14="http://schemas.microsoft.com/office/drawing/2010/main" val="0"/>
              </a:ext>
            </a:extLst>
          </a:blip>
          <a:srcRect/>
          <a:stretch>
            <a:fillRect l="-16000" r="-16000"/>
          </a:stretch>
        </a:blipFill>
      </dgm:spPr>
    </dgm:pt>
    <dgm:pt modelId="{52C2E40F-B2AF-42B1-873B-C5A3D972BB5C}" type="pres">
      <dgm:prSet presAssocID="{25F4D30D-B72E-464F-8A20-0A530DA80C9B}" presName="spaceRect" presStyleCnt="0"/>
      <dgm:spPr/>
    </dgm:pt>
    <dgm:pt modelId="{301C03B9-0EA4-47EC-96AC-E50056961504}" type="pres">
      <dgm:prSet presAssocID="{25F4D30D-B72E-464F-8A20-0A530DA80C9B}" presName="parTx" presStyleLbl="revTx" presStyleIdx="0" presStyleCnt="4">
        <dgm:presLayoutVars>
          <dgm:chMax val="0"/>
          <dgm:chPref val="0"/>
        </dgm:presLayoutVars>
      </dgm:prSet>
      <dgm:spPr/>
    </dgm:pt>
    <dgm:pt modelId="{F9342A9D-F449-4B47-A855-2D1F7182749F}" type="pres">
      <dgm:prSet presAssocID="{C2406D30-8123-4F5E-B403-B1B3FCB34B71}" presName="sibTrans" presStyleCnt="0"/>
      <dgm:spPr/>
    </dgm:pt>
    <dgm:pt modelId="{3D09C677-284F-4723-AC9F-7139BE663636}" type="pres">
      <dgm:prSet presAssocID="{35D82119-22A7-43F2-A7E5-9BDCBD2AA9BB}" presName="compNode" presStyleCnt="0"/>
      <dgm:spPr/>
    </dgm:pt>
    <dgm:pt modelId="{D9196AF9-7D27-4D5F-AD70-40915B758B67}" type="pres">
      <dgm:prSet presAssocID="{35D82119-22A7-43F2-A7E5-9BDCBD2AA9BB}" presName="bgRect" presStyleLbl="bgShp" presStyleIdx="1" presStyleCnt="4" custLinFactNeighborX="-746" custLinFactNeighborY="743"/>
      <dgm:spPr/>
    </dgm:pt>
    <dgm:pt modelId="{3C9C8D17-6300-4660-A1F1-6A9892CE9041}" type="pres">
      <dgm:prSet presAssocID="{35D82119-22A7-43F2-A7E5-9BDCBD2AA9BB}" presName="iconRect" presStyleLbl="node1" presStyleIdx="1" presStyleCnt="4"/>
      <dgm:spPr>
        <a:blipFill rotWithShape="1">
          <a:blip xmlns:r="http://schemas.openxmlformats.org/officeDocument/2006/relationships" r:embed="rId2">
            <a:duotone>
              <a:srgbClr val="4472C4">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dgm:spPr>
    </dgm:pt>
    <dgm:pt modelId="{E3A7AA42-A0CC-4F6B-91B2-271BBCE96647}" type="pres">
      <dgm:prSet presAssocID="{35D82119-22A7-43F2-A7E5-9BDCBD2AA9BB}" presName="spaceRect" presStyleCnt="0"/>
      <dgm:spPr/>
    </dgm:pt>
    <dgm:pt modelId="{EDC1CA29-D1F2-4AF4-BAE8-54B79C36E48B}" type="pres">
      <dgm:prSet presAssocID="{35D82119-22A7-43F2-A7E5-9BDCBD2AA9BB}" presName="parTx" presStyleLbl="revTx" presStyleIdx="1" presStyleCnt="4">
        <dgm:presLayoutVars>
          <dgm:chMax val="0"/>
          <dgm:chPref val="0"/>
        </dgm:presLayoutVars>
      </dgm:prSet>
      <dgm:spPr/>
    </dgm:pt>
    <dgm:pt modelId="{30F8A2CF-97EB-4014-BBC6-B16ABDE936F2}" type="pres">
      <dgm:prSet presAssocID="{C8F7802F-FA84-4BCE-902B-4BF0C793C7B5}" presName="sibTrans" presStyleCnt="0"/>
      <dgm:spPr/>
    </dgm:pt>
    <dgm:pt modelId="{188DD861-CFB0-4329-B001-A50993EE81D0}" type="pres">
      <dgm:prSet presAssocID="{A8F25083-BC3E-47BA-8EB0-3A718A14EAE5}" presName="compNode" presStyleCnt="0"/>
      <dgm:spPr/>
    </dgm:pt>
    <dgm:pt modelId="{32EC2B26-DC2E-4184-8BE4-1344C879720C}" type="pres">
      <dgm:prSet presAssocID="{A8F25083-BC3E-47BA-8EB0-3A718A14EAE5}" presName="bgRect" presStyleLbl="bgShp" presStyleIdx="2" presStyleCnt="4"/>
      <dgm:spPr/>
    </dgm:pt>
    <dgm:pt modelId="{AF82FCC2-9709-4FF9-B7EE-DCC0E54A822B}" type="pres">
      <dgm:prSet presAssocID="{A8F25083-BC3E-47BA-8EB0-3A718A14EAE5}" presName="iconRect" presStyleLbl="node1" presStyleIdx="2" presStyleCnt="4"/>
      <dgm:spPr>
        <a:blipFill>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dgm:spPr>
      <dgm:extLst>
        <a:ext uri="{E40237B7-FDA0-4F09-8148-C483321AD2D9}">
          <dgm14:cNvPr xmlns:dgm14="http://schemas.microsoft.com/office/drawing/2010/diagram" id="0" name="" descr="Handshake"/>
        </a:ext>
      </dgm:extLst>
    </dgm:pt>
    <dgm:pt modelId="{5A52E28D-63E4-4E12-B40A-4372D2D16C34}" type="pres">
      <dgm:prSet presAssocID="{A8F25083-BC3E-47BA-8EB0-3A718A14EAE5}" presName="spaceRect" presStyleCnt="0"/>
      <dgm:spPr/>
    </dgm:pt>
    <dgm:pt modelId="{8BAA57D8-9CE0-4C36-89AA-832F4B221456}" type="pres">
      <dgm:prSet presAssocID="{A8F25083-BC3E-47BA-8EB0-3A718A14EAE5}" presName="parTx" presStyleLbl="revTx" presStyleIdx="2" presStyleCnt="4">
        <dgm:presLayoutVars>
          <dgm:chMax val="0"/>
          <dgm:chPref val="0"/>
        </dgm:presLayoutVars>
      </dgm:prSet>
      <dgm:spPr/>
    </dgm:pt>
    <dgm:pt modelId="{12B451C1-FB76-4DFA-9F22-A48E979B00D2}" type="pres">
      <dgm:prSet presAssocID="{CB717676-9F7D-4EF6-8FDB-430B03C637F0}" presName="sibTrans" presStyleCnt="0"/>
      <dgm:spPr/>
    </dgm:pt>
    <dgm:pt modelId="{2803EC2F-0318-4E1A-8030-752A541B0830}" type="pres">
      <dgm:prSet presAssocID="{36DC280A-CD55-4665-B5E4-5E8E0F906C65}" presName="compNode" presStyleCnt="0"/>
      <dgm:spPr/>
    </dgm:pt>
    <dgm:pt modelId="{68BD6996-D400-4D00-8693-FA5F10A0358F}" type="pres">
      <dgm:prSet presAssocID="{36DC280A-CD55-4665-B5E4-5E8E0F906C65}" presName="bgRect" presStyleLbl="bgShp" presStyleIdx="3" presStyleCnt="4"/>
      <dgm:spPr/>
    </dgm:pt>
    <dgm:pt modelId="{E4D36D34-F92B-4722-8F1F-C4428A78967E}" type="pres">
      <dgm:prSet presAssocID="{36DC280A-CD55-4665-B5E4-5E8E0F906C65}" presName="iconRect" presStyleLbl="node1" presStyleIdx="3" presStyleCnt="4"/>
      <dgm:spPr>
        <a:blipFill rotWithShape="1">
          <a:blip xmlns:r="http://schemas.openxmlformats.org/officeDocument/2006/relationships" r:embed="rId6">
            <a:duotone>
              <a:srgbClr val="0D6CB9">
                <a:shade val="45000"/>
                <a:satMod val="135000"/>
              </a:srgbClr>
              <a:prstClr val="white"/>
            </a:duotone>
            <a:extLst>
              <a:ext uri="{BEBA8EAE-BF5A-486C-A8C5-ECC9F3942E4B}">
                <a14:imgProps xmlns:a14="http://schemas.microsoft.com/office/drawing/2010/main">
                  <a14:imgLayer r:embed="rId7">
                    <a14:imgEffect>
                      <a14:saturation sat="240000"/>
                    </a14:imgEffect>
                  </a14:imgLayer>
                </a14:imgProps>
              </a:ext>
              <a:ext uri="{28A0092B-C50C-407E-A947-70E740481C1C}">
                <a14:useLocalDpi xmlns:a14="http://schemas.microsoft.com/office/drawing/2010/main" val="0"/>
              </a:ext>
            </a:extLst>
          </a:blip>
          <a:srcRect/>
          <a:stretch>
            <a:fillRect l="-5000" r="-5000"/>
          </a:stretch>
        </a:blipFill>
      </dgm:spPr>
    </dgm:pt>
    <dgm:pt modelId="{EE1C654A-AF15-4EFE-A75A-B9A841AC5095}" type="pres">
      <dgm:prSet presAssocID="{36DC280A-CD55-4665-B5E4-5E8E0F906C65}" presName="spaceRect" presStyleCnt="0"/>
      <dgm:spPr/>
    </dgm:pt>
    <dgm:pt modelId="{046F1691-E7D8-4985-85C7-DABB4EF5F651}" type="pres">
      <dgm:prSet presAssocID="{36DC280A-CD55-4665-B5E4-5E8E0F906C65}" presName="parTx" presStyleLbl="revTx" presStyleIdx="3" presStyleCnt="4">
        <dgm:presLayoutVars>
          <dgm:chMax val="0"/>
          <dgm:chPref val="0"/>
        </dgm:presLayoutVars>
      </dgm:prSet>
      <dgm:spPr/>
    </dgm:pt>
  </dgm:ptLst>
  <dgm:cxnLst>
    <dgm:cxn modelId="{3BF4E723-FB7B-4665-B170-F18739EB2BE3}" type="presOf" srcId="{8DB7A836-5143-409B-9A16-731EFADB2763}" destId="{40785628-3722-4E66-99DD-32BDCAA824B0}" srcOrd="0" destOrd="0" presId="urn:microsoft.com/office/officeart/2018/2/layout/IconVerticalSolidList"/>
    <dgm:cxn modelId="{A68AC32B-28B1-4F05-95D3-C932320D0AE9}" srcId="{8DB7A836-5143-409B-9A16-731EFADB2763}" destId="{25F4D30D-B72E-464F-8A20-0A530DA80C9B}" srcOrd="0" destOrd="0" parTransId="{33327C62-3D7D-40A2-8758-64D856EC2178}" sibTransId="{C2406D30-8123-4F5E-B403-B1B3FCB34B71}"/>
    <dgm:cxn modelId="{63A7AF5C-526B-4482-AB74-CF6D69A1F858}" srcId="{8DB7A836-5143-409B-9A16-731EFADB2763}" destId="{A8F25083-BC3E-47BA-8EB0-3A718A14EAE5}" srcOrd="2" destOrd="0" parTransId="{815B6253-3293-4846-879E-977BDA9BB843}" sibTransId="{CB717676-9F7D-4EF6-8FDB-430B03C637F0}"/>
    <dgm:cxn modelId="{34859967-4B36-4240-8AFB-397DACF843FC}" srcId="{8DB7A836-5143-409B-9A16-731EFADB2763}" destId="{35D82119-22A7-43F2-A7E5-9BDCBD2AA9BB}" srcOrd="1" destOrd="0" parTransId="{95D98F66-AC27-4718-A1E3-B39F6B05984C}" sibTransId="{C8F7802F-FA84-4BCE-902B-4BF0C793C7B5}"/>
    <dgm:cxn modelId="{DE9CEA54-B3A7-4B0E-9088-1ED0EF0EA229}" srcId="{8DB7A836-5143-409B-9A16-731EFADB2763}" destId="{36DC280A-CD55-4665-B5E4-5E8E0F906C65}" srcOrd="3" destOrd="0" parTransId="{0CC82F48-325C-4FB6-8F12-B49759A8635D}" sibTransId="{A9BF894B-46C7-4F4C-8B7A-FCC2EF089CFD}"/>
    <dgm:cxn modelId="{EFCACF75-7964-4D3C-89FE-C0E6B31084C6}" type="presOf" srcId="{A8F25083-BC3E-47BA-8EB0-3A718A14EAE5}" destId="{8BAA57D8-9CE0-4C36-89AA-832F4B221456}" srcOrd="0" destOrd="0" presId="urn:microsoft.com/office/officeart/2018/2/layout/IconVerticalSolidList"/>
    <dgm:cxn modelId="{A6A45CCC-5A28-4CD9-9329-352D518FCCB0}" type="presOf" srcId="{35D82119-22A7-43F2-A7E5-9BDCBD2AA9BB}" destId="{EDC1CA29-D1F2-4AF4-BAE8-54B79C36E48B}" srcOrd="0" destOrd="0" presId="urn:microsoft.com/office/officeart/2018/2/layout/IconVerticalSolidList"/>
    <dgm:cxn modelId="{7DB7B4D0-C008-4870-9433-A89D55BF61B9}" type="presOf" srcId="{25F4D30D-B72E-464F-8A20-0A530DA80C9B}" destId="{301C03B9-0EA4-47EC-96AC-E50056961504}" srcOrd="0" destOrd="0" presId="urn:microsoft.com/office/officeart/2018/2/layout/IconVerticalSolidList"/>
    <dgm:cxn modelId="{B81D8EE7-0D49-479A-A7AD-527DAB3CA996}" type="presOf" srcId="{36DC280A-CD55-4665-B5E4-5E8E0F906C65}" destId="{046F1691-E7D8-4985-85C7-DABB4EF5F651}" srcOrd="0" destOrd="0" presId="urn:microsoft.com/office/officeart/2018/2/layout/IconVerticalSolidList"/>
    <dgm:cxn modelId="{BA2483A3-F31E-4364-A6F3-7DF33F24DA5D}" type="presParOf" srcId="{40785628-3722-4E66-99DD-32BDCAA824B0}" destId="{B6E665F4-E97B-4F87-8BB3-BE0B27EC77CD}" srcOrd="0" destOrd="0" presId="urn:microsoft.com/office/officeart/2018/2/layout/IconVerticalSolidList"/>
    <dgm:cxn modelId="{3A3ED439-0FAA-4B5C-B012-31C86D0C6F6A}" type="presParOf" srcId="{B6E665F4-E97B-4F87-8BB3-BE0B27EC77CD}" destId="{1F218BE6-29E0-478E-ADAA-F9BCA00755CD}" srcOrd="0" destOrd="0" presId="urn:microsoft.com/office/officeart/2018/2/layout/IconVerticalSolidList"/>
    <dgm:cxn modelId="{62EFB990-2CBB-406E-BB13-1CFC49FFB43D}" type="presParOf" srcId="{B6E665F4-E97B-4F87-8BB3-BE0B27EC77CD}" destId="{3D9E6714-B90C-486F-84EA-6FB8F8760170}" srcOrd="1" destOrd="0" presId="urn:microsoft.com/office/officeart/2018/2/layout/IconVerticalSolidList"/>
    <dgm:cxn modelId="{8ECDCE2B-AA06-41BE-B2C0-6F36EB779B59}" type="presParOf" srcId="{B6E665F4-E97B-4F87-8BB3-BE0B27EC77CD}" destId="{52C2E40F-B2AF-42B1-873B-C5A3D972BB5C}" srcOrd="2" destOrd="0" presId="urn:microsoft.com/office/officeart/2018/2/layout/IconVerticalSolidList"/>
    <dgm:cxn modelId="{9DA95485-66FF-45A6-A2C6-0AB636FEB34D}" type="presParOf" srcId="{B6E665F4-E97B-4F87-8BB3-BE0B27EC77CD}" destId="{301C03B9-0EA4-47EC-96AC-E50056961504}" srcOrd="3" destOrd="0" presId="urn:microsoft.com/office/officeart/2018/2/layout/IconVerticalSolidList"/>
    <dgm:cxn modelId="{E2CF6F71-E710-4846-8A72-FA1CB6803364}" type="presParOf" srcId="{40785628-3722-4E66-99DD-32BDCAA824B0}" destId="{F9342A9D-F449-4B47-A855-2D1F7182749F}" srcOrd="1" destOrd="0" presId="urn:microsoft.com/office/officeart/2018/2/layout/IconVerticalSolidList"/>
    <dgm:cxn modelId="{6DA51967-413B-4065-A288-0CF00175B332}" type="presParOf" srcId="{40785628-3722-4E66-99DD-32BDCAA824B0}" destId="{3D09C677-284F-4723-AC9F-7139BE663636}" srcOrd="2" destOrd="0" presId="urn:microsoft.com/office/officeart/2018/2/layout/IconVerticalSolidList"/>
    <dgm:cxn modelId="{E10687E3-5CA3-4011-9E1E-D68877DF0D8C}" type="presParOf" srcId="{3D09C677-284F-4723-AC9F-7139BE663636}" destId="{D9196AF9-7D27-4D5F-AD70-40915B758B67}" srcOrd="0" destOrd="0" presId="urn:microsoft.com/office/officeart/2018/2/layout/IconVerticalSolidList"/>
    <dgm:cxn modelId="{354F3C27-4A5F-4DC9-9CAB-E01E8C5EB851}" type="presParOf" srcId="{3D09C677-284F-4723-AC9F-7139BE663636}" destId="{3C9C8D17-6300-4660-A1F1-6A9892CE9041}" srcOrd="1" destOrd="0" presId="urn:microsoft.com/office/officeart/2018/2/layout/IconVerticalSolidList"/>
    <dgm:cxn modelId="{708F1C3E-75B3-4924-A806-75C352B6CF34}" type="presParOf" srcId="{3D09C677-284F-4723-AC9F-7139BE663636}" destId="{E3A7AA42-A0CC-4F6B-91B2-271BBCE96647}" srcOrd="2" destOrd="0" presId="urn:microsoft.com/office/officeart/2018/2/layout/IconVerticalSolidList"/>
    <dgm:cxn modelId="{F7857BBC-DF21-45CF-911D-611EAC5E8518}" type="presParOf" srcId="{3D09C677-284F-4723-AC9F-7139BE663636}" destId="{EDC1CA29-D1F2-4AF4-BAE8-54B79C36E48B}" srcOrd="3" destOrd="0" presId="urn:microsoft.com/office/officeart/2018/2/layout/IconVerticalSolidList"/>
    <dgm:cxn modelId="{E2CE363F-DFAF-469E-802E-6BAA272C5CF1}" type="presParOf" srcId="{40785628-3722-4E66-99DD-32BDCAA824B0}" destId="{30F8A2CF-97EB-4014-BBC6-B16ABDE936F2}" srcOrd="3" destOrd="0" presId="urn:microsoft.com/office/officeart/2018/2/layout/IconVerticalSolidList"/>
    <dgm:cxn modelId="{0627CDE0-7475-4520-AAD3-D6CCF081850F}" type="presParOf" srcId="{40785628-3722-4E66-99DD-32BDCAA824B0}" destId="{188DD861-CFB0-4329-B001-A50993EE81D0}" srcOrd="4" destOrd="0" presId="urn:microsoft.com/office/officeart/2018/2/layout/IconVerticalSolidList"/>
    <dgm:cxn modelId="{146DB3BA-AC6C-4952-B95D-952A5FAF71A9}" type="presParOf" srcId="{188DD861-CFB0-4329-B001-A50993EE81D0}" destId="{32EC2B26-DC2E-4184-8BE4-1344C879720C}" srcOrd="0" destOrd="0" presId="urn:microsoft.com/office/officeart/2018/2/layout/IconVerticalSolidList"/>
    <dgm:cxn modelId="{25DF87AC-548B-44D0-A611-988A0BD62AA3}" type="presParOf" srcId="{188DD861-CFB0-4329-B001-A50993EE81D0}" destId="{AF82FCC2-9709-4FF9-B7EE-DCC0E54A822B}" srcOrd="1" destOrd="0" presId="urn:microsoft.com/office/officeart/2018/2/layout/IconVerticalSolidList"/>
    <dgm:cxn modelId="{EE28D5C9-FCD9-4438-810D-4B6BC33E9709}" type="presParOf" srcId="{188DD861-CFB0-4329-B001-A50993EE81D0}" destId="{5A52E28D-63E4-4E12-B40A-4372D2D16C34}" srcOrd="2" destOrd="0" presId="urn:microsoft.com/office/officeart/2018/2/layout/IconVerticalSolidList"/>
    <dgm:cxn modelId="{6EBB9653-DD1D-4EA6-BF6A-EE7CBE568748}" type="presParOf" srcId="{188DD861-CFB0-4329-B001-A50993EE81D0}" destId="{8BAA57D8-9CE0-4C36-89AA-832F4B221456}" srcOrd="3" destOrd="0" presId="urn:microsoft.com/office/officeart/2018/2/layout/IconVerticalSolidList"/>
    <dgm:cxn modelId="{BF002DA2-F877-496B-9FBF-6B49F65A35A6}" type="presParOf" srcId="{40785628-3722-4E66-99DD-32BDCAA824B0}" destId="{12B451C1-FB76-4DFA-9F22-A48E979B00D2}" srcOrd="5" destOrd="0" presId="urn:microsoft.com/office/officeart/2018/2/layout/IconVerticalSolidList"/>
    <dgm:cxn modelId="{CDEF10B8-E4F9-4148-807D-565939C1C3C6}" type="presParOf" srcId="{40785628-3722-4E66-99DD-32BDCAA824B0}" destId="{2803EC2F-0318-4E1A-8030-752A541B0830}" srcOrd="6" destOrd="0" presId="urn:microsoft.com/office/officeart/2018/2/layout/IconVerticalSolidList"/>
    <dgm:cxn modelId="{D45E7C32-56CA-4E06-8D19-3385DA51F349}" type="presParOf" srcId="{2803EC2F-0318-4E1A-8030-752A541B0830}" destId="{68BD6996-D400-4D00-8693-FA5F10A0358F}" srcOrd="0" destOrd="0" presId="urn:microsoft.com/office/officeart/2018/2/layout/IconVerticalSolidList"/>
    <dgm:cxn modelId="{96C2DC08-9E92-410F-96C0-4F7FDB55A7D6}" type="presParOf" srcId="{2803EC2F-0318-4E1A-8030-752A541B0830}" destId="{E4D36D34-F92B-4722-8F1F-C4428A78967E}" srcOrd="1" destOrd="0" presId="urn:microsoft.com/office/officeart/2018/2/layout/IconVerticalSolidList"/>
    <dgm:cxn modelId="{A20E9535-A9AC-4D7B-99AA-AAE01E8F8A89}" type="presParOf" srcId="{2803EC2F-0318-4E1A-8030-752A541B0830}" destId="{EE1C654A-AF15-4EFE-A75A-B9A841AC5095}" srcOrd="2" destOrd="0" presId="urn:microsoft.com/office/officeart/2018/2/layout/IconVerticalSolidList"/>
    <dgm:cxn modelId="{B237A5C5-0EED-4C5D-A929-56D7531F8B71}" type="presParOf" srcId="{2803EC2F-0318-4E1A-8030-752A541B0830}" destId="{046F1691-E7D8-4985-85C7-DABB4EF5F651}"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031521-21BE-425E-B46D-1E09CFA5A898}" type="doc">
      <dgm:prSet loTypeId="urn:microsoft.com/office/officeart/2016/7/layout/VerticalSolidActionList" loCatId="List" qsTypeId="urn:microsoft.com/office/officeart/2005/8/quickstyle/simple1" qsCatId="simple" csTypeId="urn:microsoft.com/office/officeart/2005/8/colors/accent1_2" csCatId="accent1" phldr="1"/>
      <dgm:spPr/>
      <dgm:t>
        <a:bodyPr/>
        <a:lstStyle/>
        <a:p>
          <a:endParaRPr lang="en-US"/>
        </a:p>
      </dgm:t>
    </dgm:pt>
    <dgm:pt modelId="{97F08E8C-FD18-4241-9DAE-85EE23688654}">
      <dgm:prSet/>
      <dgm:spPr/>
      <dgm:t>
        <a:bodyPr/>
        <a:lstStyle/>
        <a:p>
          <a:r>
            <a:rPr lang="en-US" b="1" dirty="0"/>
            <a:t>Attendance</a:t>
          </a:r>
          <a:endParaRPr lang="en-US" dirty="0"/>
        </a:p>
      </dgm:t>
    </dgm:pt>
    <dgm:pt modelId="{8755882F-CE7E-48EE-B79E-DD734E8FB120}" type="parTrans" cxnId="{93CFD27E-D8D4-4CD8-9014-C2D02105207E}">
      <dgm:prSet/>
      <dgm:spPr/>
      <dgm:t>
        <a:bodyPr/>
        <a:lstStyle/>
        <a:p>
          <a:endParaRPr lang="en-US"/>
        </a:p>
      </dgm:t>
    </dgm:pt>
    <dgm:pt modelId="{E9228565-FF8C-4113-9E51-FED92F5EB350}" type="sibTrans" cxnId="{93CFD27E-D8D4-4CD8-9014-C2D02105207E}">
      <dgm:prSet/>
      <dgm:spPr/>
      <dgm:t>
        <a:bodyPr/>
        <a:lstStyle/>
        <a:p>
          <a:endParaRPr lang="en-US"/>
        </a:p>
      </dgm:t>
    </dgm:pt>
    <dgm:pt modelId="{3F54F1E3-AF9A-404B-9421-1D62C38BE362}">
      <dgm:prSet custT="1"/>
      <dgm:spPr/>
      <dgm:t>
        <a:bodyPr/>
        <a:lstStyle/>
        <a:p>
          <a:pPr>
            <a:buFont typeface="+mj-lt"/>
            <a:buAutoNum type="arabicPeriod"/>
          </a:pPr>
          <a:r>
            <a:rPr lang="en-US" sz="2000" dirty="0"/>
            <a:t>1. Granular negative attendance by student </a:t>
          </a:r>
          <a:r>
            <a:rPr lang="en-US" sz="2000" b="1" dirty="0"/>
            <a:t>which will eliminate the requirement for SIS vendors to calculate attendance by six-weeks.</a:t>
          </a:r>
          <a:endParaRPr lang="en-US" sz="2000" dirty="0"/>
        </a:p>
      </dgm:t>
    </dgm:pt>
    <dgm:pt modelId="{BA0264EE-90E6-4CE7-A1D8-377A0F510433}" type="parTrans" cxnId="{2B276E7E-997C-4951-AA16-9C2211139D2C}">
      <dgm:prSet/>
      <dgm:spPr/>
      <dgm:t>
        <a:bodyPr/>
        <a:lstStyle/>
        <a:p>
          <a:endParaRPr lang="en-US"/>
        </a:p>
      </dgm:t>
    </dgm:pt>
    <dgm:pt modelId="{22031ADF-6EC0-49EC-947A-AF01D343BD35}" type="sibTrans" cxnId="{2B276E7E-997C-4951-AA16-9C2211139D2C}">
      <dgm:prSet/>
      <dgm:spPr/>
      <dgm:t>
        <a:bodyPr/>
        <a:lstStyle/>
        <a:p>
          <a:endParaRPr lang="en-US"/>
        </a:p>
      </dgm:t>
    </dgm:pt>
    <dgm:pt modelId="{F40DD429-F215-40AA-B0D5-591D566DCC96}">
      <dgm:prSet custT="1"/>
      <dgm:spPr/>
      <dgm:t>
        <a:bodyPr/>
        <a:lstStyle/>
        <a:p>
          <a:pPr>
            <a:buFont typeface="+mj-lt"/>
            <a:buAutoNum type="arabicPeriod"/>
          </a:pPr>
          <a:r>
            <a:rPr lang="en-US" sz="2000" dirty="0"/>
            <a:t>2. </a:t>
          </a:r>
          <a:r>
            <a:rPr lang="en-US" sz="2000" b="1" dirty="0"/>
            <a:t>Cumulative attendance </a:t>
          </a:r>
          <a:r>
            <a:rPr lang="en-US" sz="2000" dirty="0"/>
            <a:t>by six-weeks by student. (no change from the way attendance is currently collected)</a:t>
          </a:r>
        </a:p>
      </dgm:t>
    </dgm:pt>
    <dgm:pt modelId="{2FAE47F1-5921-4375-B6FD-FA9CB97AE2DA}" type="parTrans" cxnId="{63E7746E-21AA-450B-B90D-0CEFB2DADC5E}">
      <dgm:prSet/>
      <dgm:spPr/>
      <dgm:t>
        <a:bodyPr/>
        <a:lstStyle/>
        <a:p>
          <a:endParaRPr lang="en-US"/>
        </a:p>
      </dgm:t>
    </dgm:pt>
    <dgm:pt modelId="{631805A4-6A5F-4ECD-9C6F-796514C80224}" type="sibTrans" cxnId="{63E7746E-21AA-450B-B90D-0CEFB2DADC5E}">
      <dgm:prSet/>
      <dgm:spPr/>
      <dgm:t>
        <a:bodyPr/>
        <a:lstStyle/>
        <a:p>
          <a:endParaRPr lang="en-US"/>
        </a:p>
      </dgm:t>
    </dgm:pt>
    <dgm:pt modelId="{9092A51D-9E13-4BC5-B010-D3D67AF169B0}">
      <dgm:prSet/>
      <dgm:spPr/>
      <dgm:t>
        <a:bodyPr/>
        <a:lstStyle/>
        <a:p>
          <a:r>
            <a:rPr lang="en-US" b="1" dirty="0"/>
            <a:t>Enrollment</a:t>
          </a:r>
          <a:endParaRPr lang="en-US" dirty="0"/>
        </a:p>
      </dgm:t>
    </dgm:pt>
    <dgm:pt modelId="{B0EB4863-10B7-4587-BE3E-EBE57C3B2CDD}" type="parTrans" cxnId="{8BFBA198-6480-49B3-B5AC-F0543FEF8CB8}">
      <dgm:prSet/>
      <dgm:spPr/>
      <dgm:t>
        <a:bodyPr/>
        <a:lstStyle/>
        <a:p>
          <a:endParaRPr lang="en-US"/>
        </a:p>
      </dgm:t>
    </dgm:pt>
    <dgm:pt modelId="{256BD634-FB6C-4025-B3EA-EAAE1E2BB9EA}" type="sibTrans" cxnId="{8BFBA198-6480-49B3-B5AC-F0543FEF8CB8}">
      <dgm:prSet/>
      <dgm:spPr/>
      <dgm:t>
        <a:bodyPr/>
        <a:lstStyle/>
        <a:p>
          <a:endParaRPr lang="en-US"/>
        </a:p>
      </dgm:t>
    </dgm:pt>
    <dgm:pt modelId="{9800A4E9-3FAC-49F4-84D8-38FF411D2C35}">
      <dgm:prSet custT="1"/>
      <dgm:spPr/>
      <dgm:t>
        <a:bodyPr/>
        <a:lstStyle/>
        <a:p>
          <a:pPr>
            <a:buNone/>
          </a:pPr>
          <a:r>
            <a:rPr lang="en-US" sz="2400" dirty="0"/>
            <a:t>TEA plans to collect attendance data two ways in the 2023-2024 school year:</a:t>
          </a:r>
        </a:p>
      </dgm:t>
    </dgm:pt>
    <dgm:pt modelId="{BCFB31BC-D167-4A60-80C6-9A2C1F7D6A42}" type="parTrans" cxnId="{C8A7079B-D44D-40A1-B3F2-EB13FB9C3179}">
      <dgm:prSet/>
      <dgm:spPr/>
    </dgm:pt>
    <dgm:pt modelId="{1B724DA7-7622-4ACE-88C5-9C9B51058091}" type="sibTrans" cxnId="{C8A7079B-D44D-40A1-B3F2-EB13FB9C3179}">
      <dgm:prSet/>
      <dgm:spPr/>
    </dgm:pt>
    <dgm:pt modelId="{0C71A0AB-2F0B-4720-BDA5-A7565C1CC8FF}">
      <dgm:prSet custT="1"/>
      <dgm:spPr/>
      <dgm:t>
        <a:bodyPr/>
        <a:lstStyle/>
        <a:p>
          <a:r>
            <a:rPr lang="en-US" sz="2000" b="1" dirty="0"/>
            <a:t>Enrollment</a:t>
          </a:r>
          <a:r>
            <a:rPr lang="en-US" sz="2000" dirty="0"/>
            <a:t> and </a:t>
          </a:r>
          <a:r>
            <a:rPr lang="en-US" sz="2000" b="1" dirty="0"/>
            <a:t>withdrawal</a:t>
          </a:r>
          <a:r>
            <a:rPr lang="en-US" sz="2000" dirty="0"/>
            <a:t> data will be collected at the </a:t>
          </a:r>
          <a:r>
            <a:rPr lang="en-US" sz="2000" b="1" dirty="0"/>
            <a:t>student level </a:t>
          </a:r>
          <a:r>
            <a:rPr lang="en-US" sz="2000" dirty="0"/>
            <a:t>in the ODS.  </a:t>
          </a:r>
        </a:p>
        <a:p>
          <a:r>
            <a:rPr lang="en-US" sz="2000" dirty="0"/>
            <a:t>This data will be sent to the UID Enrollment Tracking application so LEAs will </a:t>
          </a:r>
          <a:r>
            <a:rPr lang="en-US" sz="2000" b="1" dirty="0"/>
            <a:t>no longer have to load this data in the UID system</a:t>
          </a:r>
          <a:r>
            <a:rPr lang="en-US" sz="2000" dirty="0"/>
            <a:t>.</a:t>
          </a:r>
        </a:p>
      </dgm:t>
    </dgm:pt>
    <dgm:pt modelId="{6D15131D-A9B0-4925-981D-EC8B53B8A167}" type="parTrans" cxnId="{A8A3E5D6-E3C4-432F-A329-8395C0800AB6}">
      <dgm:prSet/>
      <dgm:spPr/>
    </dgm:pt>
    <dgm:pt modelId="{9B8AF26B-8769-487E-A7FE-9EC453860B1B}" type="sibTrans" cxnId="{A8A3E5D6-E3C4-432F-A329-8395C0800AB6}">
      <dgm:prSet/>
      <dgm:spPr/>
    </dgm:pt>
    <dgm:pt modelId="{E01D3881-75B6-4918-BFAE-4C5F55736329}">
      <dgm:prSet custT="1"/>
      <dgm:spPr/>
      <dgm:t>
        <a:bodyPr/>
        <a:lstStyle/>
        <a:p>
          <a:pPr>
            <a:buNone/>
          </a:pPr>
          <a:r>
            <a:rPr lang="en-US" sz="1800" dirty="0"/>
            <a:t>Note: TEA will discontinue collecting cumulative attendance after confirming attendance calculations.</a:t>
          </a:r>
          <a:endParaRPr lang="en-US" sz="600" dirty="0"/>
        </a:p>
      </dgm:t>
    </dgm:pt>
    <dgm:pt modelId="{6511D5AF-8C83-41CD-8851-49272F899A3D}" type="parTrans" cxnId="{84D26D0F-52C7-4DFE-A2D3-EC74ABBB1DEC}">
      <dgm:prSet/>
      <dgm:spPr/>
    </dgm:pt>
    <dgm:pt modelId="{986959F1-03ED-4342-A94F-C1F46CB02E90}" type="sibTrans" cxnId="{84D26D0F-52C7-4DFE-A2D3-EC74ABBB1DEC}">
      <dgm:prSet/>
      <dgm:spPr/>
    </dgm:pt>
    <dgm:pt modelId="{94FFB4A8-56BB-44CA-8F39-8DA7D2FDFC39}" type="pres">
      <dgm:prSet presAssocID="{94031521-21BE-425E-B46D-1E09CFA5A898}" presName="Name0" presStyleCnt="0">
        <dgm:presLayoutVars>
          <dgm:dir/>
          <dgm:animLvl val="lvl"/>
          <dgm:resizeHandles val="exact"/>
        </dgm:presLayoutVars>
      </dgm:prSet>
      <dgm:spPr/>
    </dgm:pt>
    <dgm:pt modelId="{BED195D8-043A-4631-881D-E268827BC898}" type="pres">
      <dgm:prSet presAssocID="{97F08E8C-FD18-4241-9DAE-85EE23688654}" presName="linNode" presStyleCnt="0"/>
      <dgm:spPr/>
    </dgm:pt>
    <dgm:pt modelId="{DD588A61-D217-49F1-A75E-C0D7FA41D6EB}" type="pres">
      <dgm:prSet presAssocID="{97F08E8C-FD18-4241-9DAE-85EE23688654}" presName="parentText" presStyleLbl="alignNode1" presStyleIdx="0" presStyleCnt="2" custScaleY="113371">
        <dgm:presLayoutVars>
          <dgm:chMax val="1"/>
          <dgm:bulletEnabled/>
        </dgm:presLayoutVars>
      </dgm:prSet>
      <dgm:spPr/>
    </dgm:pt>
    <dgm:pt modelId="{1888A731-5058-44BD-A7BB-A55E0F7FC7A3}" type="pres">
      <dgm:prSet presAssocID="{97F08E8C-FD18-4241-9DAE-85EE23688654}" presName="descendantText" presStyleLbl="alignAccFollowNode1" presStyleIdx="0" presStyleCnt="2" custScaleY="114617">
        <dgm:presLayoutVars>
          <dgm:bulletEnabled/>
        </dgm:presLayoutVars>
      </dgm:prSet>
      <dgm:spPr/>
    </dgm:pt>
    <dgm:pt modelId="{6083745F-90C2-4AE2-B238-165D4D18464A}" type="pres">
      <dgm:prSet presAssocID="{E9228565-FF8C-4113-9E51-FED92F5EB350}" presName="sp" presStyleCnt="0"/>
      <dgm:spPr/>
    </dgm:pt>
    <dgm:pt modelId="{B3030DA4-68C8-422E-9CE6-EF39622E1759}" type="pres">
      <dgm:prSet presAssocID="{9092A51D-9E13-4BC5-B010-D3D67AF169B0}" presName="linNode" presStyleCnt="0"/>
      <dgm:spPr/>
    </dgm:pt>
    <dgm:pt modelId="{8810AC1A-ECCD-4F11-A142-C54230D73ECA}" type="pres">
      <dgm:prSet presAssocID="{9092A51D-9E13-4BC5-B010-D3D67AF169B0}" presName="parentText" presStyleLbl="alignNode1" presStyleIdx="1" presStyleCnt="2">
        <dgm:presLayoutVars>
          <dgm:chMax val="1"/>
          <dgm:bulletEnabled/>
        </dgm:presLayoutVars>
      </dgm:prSet>
      <dgm:spPr/>
    </dgm:pt>
    <dgm:pt modelId="{8CEAB6B0-7F09-4073-B4BE-C73D1D0EA505}" type="pres">
      <dgm:prSet presAssocID="{9092A51D-9E13-4BC5-B010-D3D67AF169B0}" presName="descendantText" presStyleLbl="alignAccFollowNode1" presStyleIdx="1" presStyleCnt="2">
        <dgm:presLayoutVars>
          <dgm:bulletEnabled/>
        </dgm:presLayoutVars>
      </dgm:prSet>
      <dgm:spPr/>
    </dgm:pt>
  </dgm:ptLst>
  <dgm:cxnLst>
    <dgm:cxn modelId="{7CF2E204-844A-4138-B5CC-4086698274E7}" type="presOf" srcId="{9800A4E9-3FAC-49F4-84D8-38FF411D2C35}" destId="{1888A731-5058-44BD-A7BB-A55E0F7FC7A3}" srcOrd="0" destOrd="0" presId="urn:microsoft.com/office/officeart/2016/7/layout/VerticalSolidActionList"/>
    <dgm:cxn modelId="{84D26D0F-52C7-4DFE-A2D3-EC74ABBB1DEC}" srcId="{97F08E8C-FD18-4241-9DAE-85EE23688654}" destId="{E01D3881-75B6-4918-BFAE-4C5F55736329}" srcOrd="3" destOrd="0" parTransId="{6511D5AF-8C83-41CD-8851-49272F899A3D}" sibTransId="{986959F1-03ED-4342-A94F-C1F46CB02E90}"/>
    <dgm:cxn modelId="{8DB13116-E694-4B4E-BDB5-63EAF222DB1D}" type="presOf" srcId="{F40DD429-F215-40AA-B0D5-591D566DCC96}" destId="{1888A731-5058-44BD-A7BB-A55E0F7FC7A3}" srcOrd="0" destOrd="2" presId="urn:microsoft.com/office/officeart/2016/7/layout/VerticalSolidActionList"/>
    <dgm:cxn modelId="{FD896326-AD79-4E6B-99FF-0710486D7CA4}" type="presOf" srcId="{E01D3881-75B6-4918-BFAE-4C5F55736329}" destId="{1888A731-5058-44BD-A7BB-A55E0F7FC7A3}" srcOrd="0" destOrd="3" presId="urn:microsoft.com/office/officeart/2016/7/layout/VerticalSolidActionList"/>
    <dgm:cxn modelId="{63E7746E-21AA-450B-B90D-0CEFB2DADC5E}" srcId="{97F08E8C-FD18-4241-9DAE-85EE23688654}" destId="{F40DD429-F215-40AA-B0D5-591D566DCC96}" srcOrd="2" destOrd="0" parTransId="{2FAE47F1-5921-4375-B6FD-FA9CB97AE2DA}" sibTransId="{631805A4-6A5F-4ECD-9C6F-796514C80224}"/>
    <dgm:cxn modelId="{49380B57-2563-41C8-A71E-CE66D4636F19}" type="presOf" srcId="{3F54F1E3-AF9A-404B-9421-1D62C38BE362}" destId="{1888A731-5058-44BD-A7BB-A55E0F7FC7A3}" srcOrd="0" destOrd="1" presId="urn:microsoft.com/office/officeart/2016/7/layout/VerticalSolidActionList"/>
    <dgm:cxn modelId="{2B276E7E-997C-4951-AA16-9C2211139D2C}" srcId="{97F08E8C-FD18-4241-9DAE-85EE23688654}" destId="{3F54F1E3-AF9A-404B-9421-1D62C38BE362}" srcOrd="1" destOrd="0" parTransId="{BA0264EE-90E6-4CE7-A1D8-377A0F510433}" sibTransId="{22031ADF-6EC0-49EC-947A-AF01D343BD35}"/>
    <dgm:cxn modelId="{93CFD27E-D8D4-4CD8-9014-C2D02105207E}" srcId="{94031521-21BE-425E-B46D-1E09CFA5A898}" destId="{97F08E8C-FD18-4241-9DAE-85EE23688654}" srcOrd="0" destOrd="0" parTransId="{8755882F-CE7E-48EE-B79E-DD734E8FB120}" sibTransId="{E9228565-FF8C-4113-9E51-FED92F5EB350}"/>
    <dgm:cxn modelId="{8BFBA198-6480-49B3-B5AC-F0543FEF8CB8}" srcId="{94031521-21BE-425E-B46D-1E09CFA5A898}" destId="{9092A51D-9E13-4BC5-B010-D3D67AF169B0}" srcOrd="1" destOrd="0" parTransId="{B0EB4863-10B7-4587-BE3E-EBE57C3B2CDD}" sibTransId="{256BD634-FB6C-4025-B3EA-EAAE1E2BB9EA}"/>
    <dgm:cxn modelId="{C8A7079B-D44D-40A1-B3F2-EB13FB9C3179}" srcId="{97F08E8C-FD18-4241-9DAE-85EE23688654}" destId="{9800A4E9-3FAC-49F4-84D8-38FF411D2C35}" srcOrd="0" destOrd="0" parTransId="{BCFB31BC-D167-4A60-80C6-9A2C1F7D6A42}" sibTransId="{1B724DA7-7622-4ACE-88C5-9C9B51058091}"/>
    <dgm:cxn modelId="{254B9EB3-7EA2-4834-9065-0250449C4AE0}" type="presOf" srcId="{97F08E8C-FD18-4241-9DAE-85EE23688654}" destId="{DD588A61-D217-49F1-A75E-C0D7FA41D6EB}" srcOrd="0" destOrd="0" presId="urn:microsoft.com/office/officeart/2016/7/layout/VerticalSolidActionList"/>
    <dgm:cxn modelId="{BA657BD2-EC9C-41BE-8D9F-D8DC7DFAA0C9}" type="presOf" srcId="{94031521-21BE-425E-B46D-1E09CFA5A898}" destId="{94FFB4A8-56BB-44CA-8F39-8DA7D2FDFC39}" srcOrd="0" destOrd="0" presId="urn:microsoft.com/office/officeart/2016/7/layout/VerticalSolidActionList"/>
    <dgm:cxn modelId="{A8A3E5D6-E3C4-432F-A329-8395C0800AB6}" srcId="{9092A51D-9E13-4BC5-B010-D3D67AF169B0}" destId="{0C71A0AB-2F0B-4720-BDA5-A7565C1CC8FF}" srcOrd="0" destOrd="0" parTransId="{6D15131D-A9B0-4925-981D-EC8B53B8A167}" sibTransId="{9B8AF26B-8769-487E-A7FE-9EC453860B1B}"/>
    <dgm:cxn modelId="{F0C5B3DD-5723-4C24-9125-DD5C9E3D19D0}" type="presOf" srcId="{0C71A0AB-2F0B-4720-BDA5-A7565C1CC8FF}" destId="{8CEAB6B0-7F09-4073-B4BE-C73D1D0EA505}" srcOrd="0" destOrd="0" presId="urn:microsoft.com/office/officeart/2016/7/layout/VerticalSolidActionList"/>
    <dgm:cxn modelId="{A51B88E3-088F-44B9-911E-63220993F44A}" type="presOf" srcId="{9092A51D-9E13-4BC5-B010-D3D67AF169B0}" destId="{8810AC1A-ECCD-4F11-A142-C54230D73ECA}" srcOrd="0" destOrd="0" presId="urn:microsoft.com/office/officeart/2016/7/layout/VerticalSolidActionList"/>
    <dgm:cxn modelId="{5988663C-4E13-4EF6-BD4F-043034E49FB2}" type="presParOf" srcId="{94FFB4A8-56BB-44CA-8F39-8DA7D2FDFC39}" destId="{BED195D8-043A-4631-881D-E268827BC898}" srcOrd="0" destOrd="0" presId="urn:microsoft.com/office/officeart/2016/7/layout/VerticalSolidActionList"/>
    <dgm:cxn modelId="{9F7A58DF-6656-4E90-820C-6BEEAFABEE3A}" type="presParOf" srcId="{BED195D8-043A-4631-881D-E268827BC898}" destId="{DD588A61-D217-49F1-A75E-C0D7FA41D6EB}" srcOrd="0" destOrd="0" presId="urn:microsoft.com/office/officeart/2016/7/layout/VerticalSolidActionList"/>
    <dgm:cxn modelId="{92DC820E-B523-45AE-9B2A-53389B4E8615}" type="presParOf" srcId="{BED195D8-043A-4631-881D-E268827BC898}" destId="{1888A731-5058-44BD-A7BB-A55E0F7FC7A3}" srcOrd="1" destOrd="0" presId="urn:microsoft.com/office/officeart/2016/7/layout/VerticalSolidActionList"/>
    <dgm:cxn modelId="{6A956966-D90F-4E8C-8074-70593D347FFC}" type="presParOf" srcId="{94FFB4A8-56BB-44CA-8F39-8DA7D2FDFC39}" destId="{6083745F-90C2-4AE2-B238-165D4D18464A}" srcOrd="1" destOrd="0" presId="urn:microsoft.com/office/officeart/2016/7/layout/VerticalSolidActionList"/>
    <dgm:cxn modelId="{963BF091-E725-4E00-8C0D-F37A29DC82B8}" type="presParOf" srcId="{94FFB4A8-56BB-44CA-8F39-8DA7D2FDFC39}" destId="{B3030DA4-68C8-422E-9CE6-EF39622E1759}" srcOrd="2" destOrd="0" presId="urn:microsoft.com/office/officeart/2016/7/layout/VerticalSolidActionList"/>
    <dgm:cxn modelId="{34EC2205-3C8D-434C-ADC8-983E081D5958}" type="presParOf" srcId="{B3030DA4-68C8-422E-9CE6-EF39622E1759}" destId="{8810AC1A-ECCD-4F11-A142-C54230D73ECA}" srcOrd="0" destOrd="0" presId="urn:microsoft.com/office/officeart/2016/7/layout/VerticalSolidActionList"/>
    <dgm:cxn modelId="{DE8512F4-EA25-469C-A061-9C4DEBC0FCA5}" type="presParOf" srcId="{B3030DA4-68C8-422E-9CE6-EF39622E1759}" destId="{8CEAB6B0-7F09-4073-B4BE-C73D1D0EA505}" srcOrd="1" destOrd="0" presId="urn:microsoft.com/office/officeart/2016/7/layout/VerticalSolidAction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20138DA-D309-4D8A-A1EC-904AB8C7F879}" type="doc">
      <dgm:prSet loTypeId="urn:microsoft.com/office/officeart/2005/8/layout/vList2" loCatId="list" qsTypeId="urn:microsoft.com/office/officeart/2005/8/quickstyle/simple1" qsCatId="simple" csTypeId="urn:microsoft.com/office/officeart/2005/8/colors/accent2_2" csCatId="accent2" phldr="1"/>
      <dgm:spPr/>
      <dgm:t>
        <a:bodyPr/>
        <a:lstStyle/>
        <a:p>
          <a:endParaRPr lang="en-US"/>
        </a:p>
      </dgm:t>
    </dgm:pt>
    <dgm:pt modelId="{EF819F69-F685-4840-A067-F987F6CB3346}">
      <dgm:prSet custT="1"/>
      <dgm:spPr/>
      <dgm:t>
        <a:bodyPr/>
        <a:lstStyle/>
        <a:p>
          <a:r>
            <a:rPr lang="en-US" sz="2000" dirty="0"/>
            <a:t>Better alignment to existing Ed-Fi vendor products by being on the </a:t>
          </a:r>
          <a:r>
            <a:rPr lang="en-US" sz="2000" b="1" dirty="0"/>
            <a:t>current version of the Ed-Fi standard</a:t>
          </a:r>
          <a:r>
            <a:rPr lang="en-US" sz="2000" dirty="0"/>
            <a:t>.</a:t>
          </a:r>
        </a:p>
      </dgm:t>
    </dgm:pt>
    <dgm:pt modelId="{24C8A22F-D53E-4514-8DB4-8A7C6A0C97FC}" type="parTrans" cxnId="{A6324A9A-433C-493D-ACEB-F82CB4C4209C}">
      <dgm:prSet/>
      <dgm:spPr/>
      <dgm:t>
        <a:bodyPr/>
        <a:lstStyle/>
        <a:p>
          <a:endParaRPr lang="en-US"/>
        </a:p>
      </dgm:t>
    </dgm:pt>
    <dgm:pt modelId="{B97596F6-29EF-44B7-87D5-A292E000740B}" type="sibTrans" cxnId="{A6324A9A-433C-493D-ACEB-F82CB4C4209C}">
      <dgm:prSet/>
      <dgm:spPr/>
      <dgm:t>
        <a:bodyPr/>
        <a:lstStyle/>
        <a:p>
          <a:endParaRPr lang="en-US"/>
        </a:p>
      </dgm:t>
    </dgm:pt>
    <dgm:pt modelId="{829F262B-35FD-41EB-B21C-E77CA2B10DFD}">
      <dgm:prSet custT="1"/>
      <dgm:spPr/>
      <dgm:t>
        <a:bodyPr/>
        <a:lstStyle/>
        <a:p>
          <a:r>
            <a:rPr lang="en-US" sz="2000" b="1" dirty="0"/>
            <a:t>More robust validation process earlier in </a:t>
          </a:r>
          <a:r>
            <a:rPr lang="en-US" sz="2000" dirty="0"/>
            <a:t>the data loading process.</a:t>
          </a:r>
        </a:p>
      </dgm:t>
    </dgm:pt>
    <dgm:pt modelId="{D57A3669-CBF2-447C-A64D-338B6E8812F6}" type="parTrans" cxnId="{499D6805-C289-4561-9426-AA29B72922BD}">
      <dgm:prSet/>
      <dgm:spPr/>
      <dgm:t>
        <a:bodyPr/>
        <a:lstStyle/>
        <a:p>
          <a:endParaRPr lang="en-US"/>
        </a:p>
      </dgm:t>
    </dgm:pt>
    <dgm:pt modelId="{F2FB0D0D-0B15-490B-A0A3-BCB4EA3AD5F5}" type="sibTrans" cxnId="{499D6805-C289-4561-9426-AA29B72922BD}">
      <dgm:prSet/>
      <dgm:spPr/>
      <dgm:t>
        <a:bodyPr/>
        <a:lstStyle/>
        <a:p>
          <a:endParaRPr lang="en-US"/>
        </a:p>
      </dgm:t>
    </dgm:pt>
    <dgm:pt modelId="{2CD87C0B-CBA5-4088-82AB-21397738ECF7}">
      <dgm:prSet custT="1"/>
      <dgm:spPr/>
      <dgm:t>
        <a:bodyPr/>
        <a:lstStyle/>
        <a:p>
          <a:r>
            <a:rPr lang="en-US" sz="2000" b="1" dirty="0"/>
            <a:t>Eliminates bulk load processes </a:t>
          </a:r>
          <a:r>
            <a:rPr lang="en-US" sz="2000" b="0" dirty="0"/>
            <a:t>and requirement for </a:t>
          </a:r>
          <a:r>
            <a:rPr lang="en-US" sz="2000" b="1" dirty="0"/>
            <a:t>vendors </a:t>
          </a:r>
          <a:r>
            <a:rPr lang="en-US" sz="2000" b="0" dirty="0"/>
            <a:t>to</a:t>
          </a:r>
          <a:r>
            <a:rPr lang="en-US" sz="2000" b="1" dirty="0"/>
            <a:t>  </a:t>
          </a:r>
          <a:r>
            <a:rPr lang="en-US" sz="2000" b="0" dirty="0"/>
            <a:t>implement</a:t>
          </a:r>
          <a:r>
            <a:rPr lang="en-US" sz="2000" b="1" dirty="0"/>
            <a:t> logic for data extraction</a:t>
          </a:r>
          <a:r>
            <a:rPr lang="en-US" sz="2000" b="0" dirty="0"/>
            <a:t>. Data will be loaded to ODS </a:t>
          </a:r>
          <a:r>
            <a:rPr lang="en-US" sz="2000" b="1" dirty="0"/>
            <a:t>transactionally</a:t>
          </a:r>
          <a:r>
            <a:rPr lang="en-US" sz="2000" b="0" dirty="0"/>
            <a:t> with APIs.</a:t>
          </a:r>
          <a:endParaRPr lang="en-US" sz="2000" dirty="0"/>
        </a:p>
      </dgm:t>
    </dgm:pt>
    <dgm:pt modelId="{FE94BD2D-9719-4B7C-815B-E6ECA590FD9C}" type="parTrans" cxnId="{F3C172ED-4C5F-4563-A64C-137573213A2D}">
      <dgm:prSet/>
      <dgm:spPr/>
      <dgm:t>
        <a:bodyPr/>
        <a:lstStyle/>
        <a:p>
          <a:endParaRPr lang="en-US"/>
        </a:p>
      </dgm:t>
    </dgm:pt>
    <dgm:pt modelId="{35FAA14D-C8A3-49BC-8240-A383D4EAEC00}" type="sibTrans" cxnId="{F3C172ED-4C5F-4563-A64C-137573213A2D}">
      <dgm:prSet/>
      <dgm:spPr/>
      <dgm:t>
        <a:bodyPr/>
        <a:lstStyle/>
        <a:p>
          <a:endParaRPr lang="en-US"/>
        </a:p>
      </dgm:t>
    </dgm:pt>
    <dgm:pt modelId="{D9C79689-506D-4CAA-8F24-FF2C444D0447}">
      <dgm:prSet custT="1"/>
      <dgm:spPr/>
      <dgm:t>
        <a:bodyPr/>
        <a:lstStyle/>
        <a:p>
          <a:r>
            <a:rPr lang="en-US" sz="2000" dirty="0"/>
            <a:t>Elimination of bulk loading will </a:t>
          </a:r>
          <a:r>
            <a:rPr lang="en-US" sz="2000" b="1" dirty="0"/>
            <a:t>resolve current ODS performance issues</a:t>
          </a:r>
          <a:r>
            <a:rPr lang="en-US" sz="2000" dirty="0"/>
            <a:t>.</a:t>
          </a:r>
          <a:endParaRPr lang="en-US" sz="2000" b="1" dirty="0"/>
        </a:p>
      </dgm:t>
    </dgm:pt>
    <dgm:pt modelId="{099356AB-F103-410B-91FA-187127D99BF3}" type="parTrans" cxnId="{D73C8B26-044D-4687-85E8-D2A7D3073578}">
      <dgm:prSet/>
      <dgm:spPr/>
      <dgm:t>
        <a:bodyPr/>
        <a:lstStyle/>
        <a:p>
          <a:endParaRPr lang="en-US"/>
        </a:p>
      </dgm:t>
    </dgm:pt>
    <dgm:pt modelId="{153CDAF6-3286-43E1-AB80-9EC6456855CC}" type="sibTrans" cxnId="{D73C8B26-044D-4687-85E8-D2A7D3073578}">
      <dgm:prSet/>
      <dgm:spPr/>
      <dgm:t>
        <a:bodyPr/>
        <a:lstStyle/>
        <a:p>
          <a:endParaRPr lang="en-US"/>
        </a:p>
      </dgm:t>
    </dgm:pt>
    <dgm:pt modelId="{99002A06-DE01-482D-9889-630C5DB82F9C}">
      <dgm:prSet custT="1"/>
      <dgm:spPr/>
      <dgm:t>
        <a:bodyPr/>
        <a:lstStyle/>
        <a:p>
          <a:r>
            <a:rPr lang="en-US" sz="2000" dirty="0"/>
            <a:t>Each LEA will have a </a:t>
          </a:r>
          <a:r>
            <a:rPr lang="en-US" sz="2000" b="1" dirty="0"/>
            <a:t>Local ODS </a:t>
          </a:r>
          <a:r>
            <a:rPr lang="en-US" sz="2000" dirty="0"/>
            <a:t>that can be </a:t>
          </a:r>
          <a:r>
            <a:rPr lang="en-US" sz="2000" b="1" dirty="0"/>
            <a:t>used for purposes other than state reporting.</a:t>
          </a:r>
          <a:endParaRPr lang="en-US" sz="2000" b="0" dirty="0"/>
        </a:p>
      </dgm:t>
    </dgm:pt>
    <dgm:pt modelId="{F1EB92C6-2FED-4B06-AEA6-BD64623C74AF}" type="parTrans" cxnId="{552B5114-3EEB-4A6E-BC95-8F605FCBDE0F}">
      <dgm:prSet/>
      <dgm:spPr/>
      <dgm:t>
        <a:bodyPr/>
        <a:lstStyle/>
        <a:p>
          <a:endParaRPr lang="en-US"/>
        </a:p>
      </dgm:t>
    </dgm:pt>
    <dgm:pt modelId="{056AD21F-1137-41E8-8F7F-ABC2251B5DD8}" type="sibTrans" cxnId="{552B5114-3EEB-4A6E-BC95-8F605FCBDE0F}">
      <dgm:prSet/>
      <dgm:spPr/>
      <dgm:t>
        <a:bodyPr/>
        <a:lstStyle/>
        <a:p>
          <a:endParaRPr lang="en-US"/>
        </a:p>
      </dgm:t>
    </dgm:pt>
    <dgm:pt modelId="{BD6649DE-B6DA-42AD-A2DC-139294D60DE1}" type="pres">
      <dgm:prSet presAssocID="{320138DA-D309-4D8A-A1EC-904AB8C7F879}" presName="linear" presStyleCnt="0">
        <dgm:presLayoutVars>
          <dgm:animLvl val="lvl"/>
          <dgm:resizeHandles val="exact"/>
        </dgm:presLayoutVars>
      </dgm:prSet>
      <dgm:spPr/>
    </dgm:pt>
    <dgm:pt modelId="{80AF0BEB-A42E-4E29-A045-05AD0A90134A}" type="pres">
      <dgm:prSet presAssocID="{EF819F69-F685-4840-A067-F987F6CB3346}" presName="parentText" presStyleLbl="node1" presStyleIdx="0" presStyleCnt="5">
        <dgm:presLayoutVars>
          <dgm:chMax val="0"/>
          <dgm:bulletEnabled val="1"/>
        </dgm:presLayoutVars>
      </dgm:prSet>
      <dgm:spPr/>
    </dgm:pt>
    <dgm:pt modelId="{E376282C-67C5-407D-87C1-81B1D7A2367C}" type="pres">
      <dgm:prSet presAssocID="{B97596F6-29EF-44B7-87D5-A292E000740B}" presName="spacer" presStyleCnt="0"/>
      <dgm:spPr/>
    </dgm:pt>
    <dgm:pt modelId="{AD2AEBAC-1CA8-4366-9B76-0A6C2DCC9A28}" type="pres">
      <dgm:prSet presAssocID="{829F262B-35FD-41EB-B21C-E77CA2B10DFD}" presName="parentText" presStyleLbl="node1" presStyleIdx="1" presStyleCnt="5">
        <dgm:presLayoutVars>
          <dgm:chMax val="0"/>
          <dgm:bulletEnabled val="1"/>
        </dgm:presLayoutVars>
      </dgm:prSet>
      <dgm:spPr/>
    </dgm:pt>
    <dgm:pt modelId="{3A96A56B-6062-442C-954F-5F482DF28D58}" type="pres">
      <dgm:prSet presAssocID="{F2FB0D0D-0B15-490B-A0A3-BCB4EA3AD5F5}" presName="spacer" presStyleCnt="0"/>
      <dgm:spPr/>
    </dgm:pt>
    <dgm:pt modelId="{C9C26CC4-6EF4-4049-AEC2-D71C56A5E648}" type="pres">
      <dgm:prSet presAssocID="{2CD87C0B-CBA5-4088-82AB-21397738ECF7}" presName="parentText" presStyleLbl="node1" presStyleIdx="2" presStyleCnt="5">
        <dgm:presLayoutVars>
          <dgm:chMax val="0"/>
          <dgm:bulletEnabled val="1"/>
        </dgm:presLayoutVars>
      </dgm:prSet>
      <dgm:spPr/>
    </dgm:pt>
    <dgm:pt modelId="{2D89184B-85EA-470B-918C-2AA7101D5D48}" type="pres">
      <dgm:prSet presAssocID="{35FAA14D-C8A3-49BC-8240-A383D4EAEC00}" presName="spacer" presStyleCnt="0"/>
      <dgm:spPr/>
    </dgm:pt>
    <dgm:pt modelId="{85E0D551-05BD-4EF9-A579-D5C153D0BB7E}" type="pres">
      <dgm:prSet presAssocID="{D9C79689-506D-4CAA-8F24-FF2C444D0447}" presName="parentText" presStyleLbl="node1" presStyleIdx="3" presStyleCnt="5">
        <dgm:presLayoutVars>
          <dgm:chMax val="0"/>
          <dgm:bulletEnabled val="1"/>
        </dgm:presLayoutVars>
      </dgm:prSet>
      <dgm:spPr/>
    </dgm:pt>
    <dgm:pt modelId="{12B6F4DF-2270-4E51-8D5B-07FD7BE7BA1D}" type="pres">
      <dgm:prSet presAssocID="{153CDAF6-3286-43E1-AB80-9EC6456855CC}" presName="spacer" presStyleCnt="0"/>
      <dgm:spPr/>
    </dgm:pt>
    <dgm:pt modelId="{971206ED-7040-4AD0-A429-F849B53A65F3}" type="pres">
      <dgm:prSet presAssocID="{99002A06-DE01-482D-9889-630C5DB82F9C}" presName="parentText" presStyleLbl="node1" presStyleIdx="4" presStyleCnt="5">
        <dgm:presLayoutVars>
          <dgm:chMax val="0"/>
          <dgm:bulletEnabled val="1"/>
        </dgm:presLayoutVars>
      </dgm:prSet>
      <dgm:spPr/>
    </dgm:pt>
  </dgm:ptLst>
  <dgm:cxnLst>
    <dgm:cxn modelId="{499D6805-C289-4561-9426-AA29B72922BD}" srcId="{320138DA-D309-4D8A-A1EC-904AB8C7F879}" destId="{829F262B-35FD-41EB-B21C-E77CA2B10DFD}" srcOrd="1" destOrd="0" parTransId="{D57A3669-CBF2-447C-A64D-338B6E8812F6}" sibTransId="{F2FB0D0D-0B15-490B-A0A3-BCB4EA3AD5F5}"/>
    <dgm:cxn modelId="{552B5114-3EEB-4A6E-BC95-8F605FCBDE0F}" srcId="{320138DA-D309-4D8A-A1EC-904AB8C7F879}" destId="{99002A06-DE01-482D-9889-630C5DB82F9C}" srcOrd="4" destOrd="0" parTransId="{F1EB92C6-2FED-4B06-AEA6-BD64623C74AF}" sibTransId="{056AD21F-1137-41E8-8F7F-ABC2251B5DD8}"/>
    <dgm:cxn modelId="{D73C8B26-044D-4687-85E8-D2A7D3073578}" srcId="{320138DA-D309-4D8A-A1EC-904AB8C7F879}" destId="{D9C79689-506D-4CAA-8F24-FF2C444D0447}" srcOrd="3" destOrd="0" parTransId="{099356AB-F103-410B-91FA-187127D99BF3}" sibTransId="{153CDAF6-3286-43E1-AB80-9EC6456855CC}"/>
    <dgm:cxn modelId="{8FB11E28-EB9A-4290-A871-54783E36AB66}" type="presOf" srcId="{320138DA-D309-4D8A-A1EC-904AB8C7F879}" destId="{BD6649DE-B6DA-42AD-A2DC-139294D60DE1}" srcOrd="0" destOrd="0" presId="urn:microsoft.com/office/officeart/2005/8/layout/vList2"/>
    <dgm:cxn modelId="{A59F4E4A-F024-4610-9912-AA7AD7B90490}" type="presOf" srcId="{2CD87C0B-CBA5-4088-82AB-21397738ECF7}" destId="{C9C26CC4-6EF4-4049-AEC2-D71C56A5E648}" srcOrd="0" destOrd="0" presId="urn:microsoft.com/office/officeart/2005/8/layout/vList2"/>
    <dgm:cxn modelId="{105F7791-3231-4DB9-A0EE-BBF104AACD52}" type="presOf" srcId="{99002A06-DE01-482D-9889-630C5DB82F9C}" destId="{971206ED-7040-4AD0-A429-F849B53A65F3}" srcOrd="0" destOrd="0" presId="urn:microsoft.com/office/officeart/2005/8/layout/vList2"/>
    <dgm:cxn modelId="{A6324A9A-433C-493D-ACEB-F82CB4C4209C}" srcId="{320138DA-D309-4D8A-A1EC-904AB8C7F879}" destId="{EF819F69-F685-4840-A067-F987F6CB3346}" srcOrd="0" destOrd="0" parTransId="{24C8A22F-D53E-4514-8DB4-8A7C6A0C97FC}" sibTransId="{B97596F6-29EF-44B7-87D5-A292E000740B}"/>
    <dgm:cxn modelId="{716D769C-D20B-4590-B6E1-91883C9ECF13}" type="presOf" srcId="{829F262B-35FD-41EB-B21C-E77CA2B10DFD}" destId="{AD2AEBAC-1CA8-4366-9B76-0A6C2DCC9A28}" srcOrd="0" destOrd="0" presId="urn:microsoft.com/office/officeart/2005/8/layout/vList2"/>
    <dgm:cxn modelId="{AD0883BE-CEAE-49F6-8DC2-53A016AB2AC0}" type="presOf" srcId="{D9C79689-506D-4CAA-8F24-FF2C444D0447}" destId="{85E0D551-05BD-4EF9-A579-D5C153D0BB7E}" srcOrd="0" destOrd="0" presId="urn:microsoft.com/office/officeart/2005/8/layout/vList2"/>
    <dgm:cxn modelId="{F3C172ED-4C5F-4563-A64C-137573213A2D}" srcId="{320138DA-D309-4D8A-A1EC-904AB8C7F879}" destId="{2CD87C0B-CBA5-4088-82AB-21397738ECF7}" srcOrd="2" destOrd="0" parTransId="{FE94BD2D-9719-4B7C-815B-E6ECA590FD9C}" sibTransId="{35FAA14D-C8A3-49BC-8240-A383D4EAEC00}"/>
    <dgm:cxn modelId="{64287EF2-1458-420C-B7AA-430D2FF65A0B}" type="presOf" srcId="{EF819F69-F685-4840-A067-F987F6CB3346}" destId="{80AF0BEB-A42E-4E29-A045-05AD0A90134A}" srcOrd="0" destOrd="0" presId="urn:microsoft.com/office/officeart/2005/8/layout/vList2"/>
    <dgm:cxn modelId="{16253885-D375-427A-8C69-C0428E8CF0E0}" type="presParOf" srcId="{BD6649DE-B6DA-42AD-A2DC-139294D60DE1}" destId="{80AF0BEB-A42E-4E29-A045-05AD0A90134A}" srcOrd="0" destOrd="0" presId="urn:microsoft.com/office/officeart/2005/8/layout/vList2"/>
    <dgm:cxn modelId="{800F91FB-0B2C-4A96-BD3A-8073E7BD6FC1}" type="presParOf" srcId="{BD6649DE-B6DA-42AD-A2DC-139294D60DE1}" destId="{E376282C-67C5-407D-87C1-81B1D7A2367C}" srcOrd="1" destOrd="0" presId="urn:microsoft.com/office/officeart/2005/8/layout/vList2"/>
    <dgm:cxn modelId="{23178D05-DBB4-435A-AF0B-7AEE1908BC26}" type="presParOf" srcId="{BD6649DE-B6DA-42AD-A2DC-139294D60DE1}" destId="{AD2AEBAC-1CA8-4366-9B76-0A6C2DCC9A28}" srcOrd="2" destOrd="0" presId="urn:microsoft.com/office/officeart/2005/8/layout/vList2"/>
    <dgm:cxn modelId="{C952238D-D46D-4FF2-967C-615878962798}" type="presParOf" srcId="{BD6649DE-B6DA-42AD-A2DC-139294D60DE1}" destId="{3A96A56B-6062-442C-954F-5F482DF28D58}" srcOrd="3" destOrd="0" presId="urn:microsoft.com/office/officeart/2005/8/layout/vList2"/>
    <dgm:cxn modelId="{8955751A-1723-44E3-B6BA-0F042595B416}" type="presParOf" srcId="{BD6649DE-B6DA-42AD-A2DC-139294D60DE1}" destId="{C9C26CC4-6EF4-4049-AEC2-D71C56A5E648}" srcOrd="4" destOrd="0" presId="urn:microsoft.com/office/officeart/2005/8/layout/vList2"/>
    <dgm:cxn modelId="{6DEF0C7C-B419-4ACE-95C1-0B876C991783}" type="presParOf" srcId="{BD6649DE-B6DA-42AD-A2DC-139294D60DE1}" destId="{2D89184B-85EA-470B-918C-2AA7101D5D48}" srcOrd="5" destOrd="0" presId="urn:microsoft.com/office/officeart/2005/8/layout/vList2"/>
    <dgm:cxn modelId="{5600D36F-D962-4173-B7F9-2F7F56B724DF}" type="presParOf" srcId="{BD6649DE-B6DA-42AD-A2DC-139294D60DE1}" destId="{85E0D551-05BD-4EF9-A579-D5C153D0BB7E}" srcOrd="6" destOrd="0" presId="urn:microsoft.com/office/officeart/2005/8/layout/vList2"/>
    <dgm:cxn modelId="{8B0685D9-834F-4404-870E-EE25A0AFD2BC}" type="presParOf" srcId="{BD6649DE-B6DA-42AD-A2DC-139294D60DE1}" destId="{12B6F4DF-2270-4E51-8D5B-07FD7BE7BA1D}" srcOrd="7" destOrd="0" presId="urn:microsoft.com/office/officeart/2005/8/layout/vList2"/>
    <dgm:cxn modelId="{1C31D211-2334-4CE6-8A23-30ACD370DF75}" type="presParOf" srcId="{BD6649DE-B6DA-42AD-A2DC-139294D60DE1}" destId="{971206ED-7040-4AD0-A429-F849B53A65F3}"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9B600EA-C7DC-4823-9366-3CDA8286C7B3}" type="doc">
      <dgm:prSet loTypeId="urn:microsoft.com/office/officeart/2005/8/layout/vList3" loCatId="picture" qsTypeId="urn:microsoft.com/office/officeart/2005/8/quickstyle/simple1" qsCatId="simple" csTypeId="urn:microsoft.com/office/officeart/2005/8/colors/accent1_2" csCatId="accent1" phldr="1"/>
      <dgm:spPr/>
    </dgm:pt>
    <dgm:pt modelId="{E7DA4BF4-E510-4898-959F-99C4E316E833}">
      <dgm:prSet phldrT="[Text]"/>
      <dgm:spPr/>
      <dgm:t>
        <a:bodyPr/>
        <a:lstStyle/>
        <a:p>
          <a:pPr algn="l"/>
          <a:r>
            <a:rPr lang="en-US" dirty="0"/>
            <a:t>The TSDS ODS 3.x project will provide an Ed-Fi Operational Data Store (ODS) for </a:t>
          </a:r>
          <a:r>
            <a:rPr lang="en-US" b="1" dirty="0"/>
            <a:t>each LEA </a:t>
          </a:r>
          <a:r>
            <a:rPr lang="en-US" dirty="0"/>
            <a:t>to utilize for </a:t>
          </a:r>
          <a:r>
            <a:rPr lang="en-US" b="1" dirty="0"/>
            <a:t>state reporting and local use</a:t>
          </a:r>
          <a:r>
            <a:rPr lang="en-US" dirty="0"/>
            <a:t>.</a:t>
          </a:r>
        </a:p>
      </dgm:t>
    </dgm:pt>
    <dgm:pt modelId="{2B60F052-80EC-4C1B-B418-7B4A4B75CA68}" type="parTrans" cxnId="{AF7312E2-47A4-46DE-B5E8-BBE9696A6BB1}">
      <dgm:prSet/>
      <dgm:spPr/>
      <dgm:t>
        <a:bodyPr/>
        <a:lstStyle/>
        <a:p>
          <a:endParaRPr lang="en-US"/>
        </a:p>
      </dgm:t>
    </dgm:pt>
    <dgm:pt modelId="{67EE2720-711F-4A0D-837F-D508B8BFAA4F}" type="sibTrans" cxnId="{AF7312E2-47A4-46DE-B5E8-BBE9696A6BB1}">
      <dgm:prSet/>
      <dgm:spPr/>
      <dgm:t>
        <a:bodyPr/>
        <a:lstStyle/>
        <a:p>
          <a:endParaRPr lang="en-US"/>
        </a:p>
      </dgm:t>
    </dgm:pt>
    <dgm:pt modelId="{A7A38B17-F6DB-4AEB-BE0B-1F1E18B840B1}">
      <dgm:prSet phldrT="[Text]"/>
      <dgm:spPr/>
      <dgm:t>
        <a:bodyPr/>
        <a:lstStyle/>
        <a:p>
          <a:pPr algn="l"/>
          <a:r>
            <a:rPr lang="en-US" dirty="0"/>
            <a:t>This project will allow source system vendors the ability to publish </a:t>
          </a:r>
          <a:r>
            <a:rPr lang="en-US" b="1" dirty="0"/>
            <a:t>transactional data </a:t>
          </a:r>
          <a:r>
            <a:rPr lang="en-US" dirty="0"/>
            <a:t>to an LEA’s Landing Zone (ODS) </a:t>
          </a:r>
          <a:r>
            <a:rPr lang="en-US" b="1" dirty="0"/>
            <a:t>beyond the reporting requirements of TSDS.</a:t>
          </a:r>
        </a:p>
      </dgm:t>
    </dgm:pt>
    <dgm:pt modelId="{C16AE46B-2270-4AA1-B2DA-EF8C4AEF366E}" type="parTrans" cxnId="{E72FA306-983F-4313-A145-7264560AA704}">
      <dgm:prSet/>
      <dgm:spPr/>
      <dgm:t>
        <a:bodyPr/>
        <a:lstStyle/>
        <a:p>
          <a:endParaRPr lang="en-US"/>
        </a:p>
      </dgm:t>
    </dgm:pt>
    <dgm:pt modelId="{3A158F93-CAB9-4E1E-8C02-59F67137DD95}" type="sibTrans" cxnId="{E72FA306-983F-4313-A145-7264560AA704}">
      <dgm:prSet/>
      <dgm:spPr/>
      <dgm:t>
        <a:bodyPr/>
        <a:lstStyle/>
        <a:p>
          <a:endParaRPr lang="en-US"/>
        </a:p>
      </dgm:t>
    </dgm:pt>
    <dgm:pt modelId="{D7956BEA-4A9E-4B91-898B-F4A41A2A798C}">
      <dgm:prSet phldrT="[Text]"/>
      <dgm:spPr/>
      <dgm:t>
        <a:bodyPr/>
        <a:lstStyle/>
        <a:p>
          <a:pPr algn="l" rtl="0"/>
          <a:r>
            <a:rPr lang="en-US" dirty="0"/>
            <a:t>Logic will be implemented in the </a:t>
          </a:r>
          <a:r>
            <a:rPr lang="en-US" b="1" dirty="0"/>
            <a:t>LEA’s Landing Zone</a:t>
          </a:r>
          <a:r>
            <a:rPr lang="en-US" dirty="0"/>
            <a:t> to ensure </a:t>
          </a:r>
          <a:r>
            <a:rPr lang="en-US" b="1" dirty="0"/>
            <a:t>only the state mandated data is reported to TEA’s </a:t>
          </a:r>
          <a:r>
            <a:rPr lang="en-US" b="1" dirty="0">
              <a:latin typeface="Calibri Light" panose="020F0302020204030204"/>
            </a:rPr>
            <a:t>Transition </a:t>
          </a:r>
          <a:r>
            <a:rPr lang="en-US" b="1" dirty="0"/>
            <a:t>Zone (ODS) </a:t>
          </a:r>
          <a:r>
            <a:rPr lang="en-US" dirty="0"/>
            <a:t>and utilized for TSDS data submissions.</a:t>
          </a:r>
          <a:r>
            <a:rPr lang="en-US" dirty="0">
              <a:latin typeface="Calibri Light" panose="020F0302020204030204"/>
            </a:rPr>
            <a:t> </a:t>
          </a:r>
          <a:endParaRPr lang="en-US" dirty="0"/>
        </a:p>
      </dgm:t>
    </dgm:pt>
    <dgm:pt modelId="{2FE90DC8-8D0A-47B6-AE9A-475D2C478834}" type="parTrans" cxnId="{8D80C775-4D25-4B02-9695-0CCDF06850F9}">
      <dgm:prSet/>
      <dgm:spPr/>
      <dgm:t>
        <a:bodyPr/>
        <a:lstStyle/>
        <a:p>
          <a:endParaRPr lang="en-US"/>
        </a:p>
      </dgm:t>
    </dgm:pt>
    <dgm:pt modelId="{0B56EB17-F9A1-4306-8CDE-D1F56414E595}" type="sibTrans" cxnId="{8D80C775-4D25-4B02-9695-0CCDF06850F9}">
      <dgm:prSet/>
      <dgm:spPr/>
      <dgm:t>
        <a:bodyPr/>
        <a:lstStyle/>
        <a:p>
          <a:endParaRPr lang="en-US"/>
        </a:p>
      </dgm:t>
    </dgm:pt>
    <dgm:pt modelId="{3512EC09-1BD9-42A0-8BEC-31216E61A8AF}" type="pres">
      <dgm:prSet presAssocID="{E9B600EA-C7DC-4823-9366-3CDA8286C7B3}" presName="linearFlow" presStyleCnt="0">
        <dgm:presLayoutVars>
          <dgm:dir/>
          <dgm:resizeHandles val="exact"/>
        </dgm:presLayoutVars>
      </dgm:prSet>
      <dgm:spPr/>
    </dgm:pt>
    <dgm:pt modelId="{4C0B18B1-CF42-4A6B-BFF1-1EFAB84C58BC}" type="pres">
      <dgm:prSet presAssocID="{E7DA4BF4-E510-4898-959F-99C4E316E833}" presName="composite" presStyleCnt="0"/>
      <dgm:spPr/>
    </dgm:pt>
    <dgm:pt modelId="{CB34D354-6218-4261-8A64-16B6AEC1CF0D}" type="pres">
      <dgm:prSet presAssocID="{E7DA4BF4-E510-4898-959F-99C4E316E833}" presName="imgShp" presStyleLbl="fgImgPlace1" presStyleIdx="0" presStyleCnt="3" custLinFactNeighborX="-48184" custLinFactNeighborY="671"/>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Database with solid fill"/>
        </a:ext>
      </dgm:extLst>
    </dgm:pt>
    <dgm:pt modelId="{71A3E711-9DFA-4B1F-BC33-0330BCB50717}" type="pres">
      <dgm:prSet presAssocID="{E7DA4BF4-E510-4898-959F-99C4E316E833}" presName="txShp" presStyleLbl="node1" presStyleIdx="0" presStyleCnt="3" custScaleX="99019">
        <dgm:presLayoutVars>
          <dgm:bulletEnabled val="1"/>
        </dgm:presLayoutVars>
      </dgm:prSet>
      <dgm:spPr/>
    </dgm:pt>
    <dgm:pt modelId="{E3680B39-D590-4626-8F63-6B4BF1E27234}" type="pres">
      <dgm:prSet presAssocID="{67EE2720-711F-4A0D-837F-D508B8BFAA4F}" presName="spacing" presStyleCnt="0"/>
      <dgm:spPr/>
    </dgm:pt>
    <dgm:pt modelId="{DE0EB448-A3EF-4281-9338-0A201D1A1782}" type="pres">
      <dgm:prSet presAssocID="{A7A38B17-F6DB-4AEB-BE0B-1F1E18B840B1}" presName="composite" presStyleCnt="0"/>
      <dgm:spPr/>
    </dgm:pt>
    <dgm:pt modelId="{61A86C2A-FABB-48A9-B1DD-FD520861A85E}" type="pres">
      <dgm:prSet presAssocID="{A7A38B17-F6DB-4AEB-BE0B-1F1E18B840B1}" presName="imgShp" presStyleLbl="fgImgPlace1" presStyleIdx="1" presStyleCnt="3" custLinFactNeighborX="-43668" custLinFactNeighborY="-451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Cloud Computing with solid fill"/>
        </a:ext>
      </dgm:extLst>
    </dgm:pt>
    <dgm:pt modelId="{492C23BA-8040-4D71-8B9C-6FF87557FEA4}" type="pres">
      <dgm:prSet presAssocID="{A7A38B17-F6DB-4AEB-BE0B-1F1E18B840B1}" presName="txShp" presStyleLbl="node1" presStyleIdx="1" presStyleCnt="3" custScaleX="97168">
        <dgm:presLayoutVars>
          <dgm:bulletEnabled val="1"/>
        </dgm:presLayoutVars>
      </dgm:prSet>
      <dgm:spPr/>
    </dgm:pt>
    <dgm:pt modelId="{6279D9C1-74C2-48E2-9844-C407B285621B}" type="pres">
      <dgm:prSet presAssocID="{3A158F93-CAB9-4E1E-8C02-59F67137DD95}" presName="spacing" presStyleCnt="0"/>
      <dgm:spPr/>
    </dgm:pt>
    <dgm:pt modelId="{5A26A186-0C20-42FF-910B-AF60ECF90093}" type="pres">
      <dgm:prSet presAssocID="{D7956BEA-4A9E-4B91-898B-F4A41A2A798C}" presName="composite" presStyleCnt="0"/>
      <dgm:spPr/>
    </dgm:pt>
    <dgm:pt modelId="{400AE9F5-9101-4EA8-B1C0-36E59CDAE8AE}" type="pres">
      <dgm:prSet presAssocID="{D7956BEA-4A9E-4B91-898B-F4A41A2A798C}" presName="imgShp" presStyleLbl="fgImgPlace1" presStyleIdx="2" presStyleCnt="3" custLinFactNeighborX="-48414" custLinFactNeighborY="-376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Gears with solid fill"/>
        </a:ext>
      </dgm:extLst>
    </dgm:pt>
    <dgm:pt modelId="{F1A5207A-0D08-4DFC-84FF-FBE49DD580AC}" type="pres">
      <dgm:prSet presAssocID="{D7956BEA-4A9E-4B91-898B-F4A41A2A798C}" presName="txShp" presStyleLbl="node1" presStyleIdx="2" presStyleCnt="3">
        <dgm:presLayoutVars>
          <dgm:bulletEnabled val="1"/>
        </dgm:presLayoutVars>
      </dgm:prSet>
      <dgm:spPr/>
    </dgm:pt>
  </dgm:ptLst>
  <dgm:cxnLst>
    <dgm:cxn modelId="{E72FA306-983F-4313-A145-7264560AA704}" srcId="{E9B600EA-C7DC-4823-9366-3CDA8286C7B3}" destId="{A7A38B17-F6DB-4AEB-BE0B-1F1E18B840B1}" srcOrd="1" destOrd="0" parTransId="{C16AE46B-2270-4AA1-B2DA-EF8C4AEF366E}" sibTransId="{3A158F93-CAB9-4E1E-8C02-59F67137DD95}"/>
    <dgm:cxn modelId="{922F7512-BA77-4394-AB04-4ABC904A33C0}" type="presOf" srcId="{E7DA4BF4-E510-4898-959F-99C4E316E833}" destId="{71A3E711-9DFA-4B1F-BC33-0330BCB50717}" srcOrd="0" destOrd="0" presId="urn:microsoft.com/office/officeart/2005/8/layout/vList3"/>
    <dgm:cxn modelId="{A8DAA334-BA56-4402-9E51-C4382AA76559}" type="presOf" srcId="{D7956BEA-4A9E-4B91-898B-F4A41A2A798C}" destId="{F1A5207A-0D08-4DFC-84FF-FBE49DD580AC}" srcOrd="0" destOrd="0" presId="urn:microsoft.com/office/officeart/2005/8/layout/vList3"/>
    <dgm:cxn modelId="{0DC36244-1468-45AC-8525-C9C5E1C8C6ED}" type="presOf" srcId="{E9B600EA-C7DC-4823-9366-3CDA8286C7B3}" destId="{3512EC09-1BD9-42A0-8BEC-31216E61A8AF}" srcOrd="0" destOrd="0" presId="urn:microsoft.com/office/officeart/2005/8/layout/vList3"/>
    <dgm:cxn modelId="{8D80C775-4D25-4B02-9695-0CCDF06850F9}" srcId="{E9B600EA-C7DC-4823-9366-3CDA8286C7B3}" destId="{D7956BEA-4A9E-4B91-898B-F4A41A2A798C}" srcOrd="2" destOrd="0" parTransId="{2FE90DC8-8D0A-47B6-AE9A-475D2C478834}" sibTransId="{0B56EB17-F9A1-4306-8CDE-D1F56414E595}"/>
    <dgm:cxn modelId="{85A25499-6971-40D9-9BE7-53D6A38559F0}" type="presOf" srcId="{A7A38B17-F6DB-4AEB-BE0B-1F1E18B840B1}" destId="{492C23BA-8040-4D71-8B9C-6FF87557FEA4}" srcOrd="0" destOrd="0" presId="urn:microsoft.com/office/officeart/2005/8/layout/vList3"/>
    <dgm:cxn modelId="{AF7312E2-47A4-46DE-B5E8-BBE9696A6BB1}" srcId="{E9B600EA-C7DC-4823-9366-3CDA8286C7B3}" destId="{E7DA4BF4-E510-4898-959F-99C4E316E833}" srcOrd="0" destOrd="0" parTransId="{2B60F052-80EC-4C1B-B418-7B4A4B75CA68}" sibTransId="{67EE2720-711F-4A0D-837F-D508B8BFAA4F}"/>
    <dgm:cxn modelId="{43C5025A-73BE-48C8-B2FA-2C329F15FDE3}" type="presParOf" srcId="{3512EC09-1BD9-42A0-8BEC-31216E61A8AF}" destId="{4C0B18B1-CF42-4A6B-BFF1-1EFAB84C58BC}" srcOrd="0" destOrd="0" presId="urn:microsoft.com/office/officeart/2005/8/layout/vList3"/>
    <dgm:cxn modelId="{0BD8596F-9813-4921-A842-AB82A0CF3285}" type="presParOf" srcId="{4C0B18B1-CF42-4A6B-BFF1-1EFAB84C58BC}" destId="{CB34D354-6218-4261-8A64-16B6AEC1CF0D}" srcOrd="0" destOrd="0" presId="urn:microsoft.com/office/officeart/2005/8/layout/vList3"/>
    <dgm:cxn modelId="{87051776-2850-409C-9F39-A0B1A676813F}" type="presParOf" srcId="{4C0B18B1-CF42-4A6B-BFF1-1EFAB84C58BC}" destId="{71A3E711-9DFA-4B1F-BC33-0330BCB50717}" srcOrd="1" destOrd="0" presId="urn:microsoft.com/office/officeart/2005/8/layout/vList3"/>
    <dgm:cxn modelId="{2FB40291-0AF9-4283-A489-BFA0C268A60F}" type="presParOf" srcId="{3512EC09-1BD9-42A0-8BEC-31216E61A8AF}" destId="{E3680B39-D590-4626-8F63-6B4BF1E27234}" srcOrd="1" destOrd="0" presId="urn:microsoft.com/office/officeart/2005/8/layout/vList3"/>
    <dgm:cxn modelId="{098B5AFE-BDDF-4A66-9578-95167911A200}" type="presParOf" srcId="{3512EC09-1BD9-42A0-8BEC-31216E61A8AF}" destId="{DE0EB448-A3EF-4281-9338-0A201D1A1782}" srcOrd="2" destOrd="0" presId="urn:microsoft.com/office/officeart/2005/8/layout/vList3"/>
    <dgm:cxn modelId="{8C7C3711-7E37-46A7-A6EC-8693C4C9A19D}" type="presParOf" srcId="{DE0EB448-A3EF-4281-9338-0A201D1A1782}" destId="{61A86C2A-FABB-48A9-B1DD-FD520861A85E}" srcOrd="0" destOrd="0" presId="urn:microsoft.com/office/officeart/2005/8/layout/vList3"/>
    <dgm:cxn modelId="{82EAA09B-129C-4E4D-9A19-33A8D70880D2}" type="presParOf" srcId="{DE0EB448-A3EF-4281-9338-0A201D1A1782}" destId="{492C23BA-8040-4D71-8B9C-6FF87557FEA4}" srcOrd="1" destOrd="0" presId="urn:microsoft.com/office/officeart/2005/8/layout/vList3"/>
    <dgm:cxn modelId="{B96DB362-4DDD-4633-8C67-27A3723C3EFE}" type="presParOf" srcId="{3512EC09-1BD9-42A0-8BEC-31216E61A8AF}" destId="{6279D9C1-74C2-48E2-9844-C407B285621B}" srcOrd="3" destOrd="0" presId="urn:microsoft.com/office/officeart/2005/8/layout/vList3"/>
    <dgm:cxn modelId="{E57B614E-A490-4236-BABC-7048D8545BB0}" type="presParOf" srcId="{3512EC09-1BD9-42A0-8BEC-31216E61A8AF}" destId="{5A26A186-0C20-42FF-910B-AF60ECF90093}" srcOrd="4" destOrd="0" presId="urn:microsoft.com/office/officeart/2005/8/layout/vList3"/>
    <dgm:cxn modelId="{653BEB2D-1BCD-4523-9303-329B387A7536}" type="presParOf" srcId="{5A26A186-0C20-42FF-910B-AF60ECF90093}" destId="{400AE9F5-9101-4EA8-B1C0-36E59CDAE8AE}" srcOrd="0" destOrd="0" presId="urn:microsoft.com/office/officeart/2005/8/layout/vList3"/>
    <dgm:cxn modelId="{3680F3DA-935F-4A98-A018-E90B00DCF4DB}" type="presParOf" srcId="{5A26A186-0C20-42FF-910B-AF60ECF90093}" destId="{F1A5207A-0D08-4DFC-84FF-FBE49DD580AC}"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9A1FB581-AD4E-4D8D-8114-8584BD409AC8}" type="doc">
      <dgm:prSet loTypeId="urn:microsoft.com/office/officeart/2009/layout/CircleArrowProcess" loCatId="cycle" qsTypeId="urn:microsoft.com/office/officeart/2005/8/quickstyle/simple1" qsCatId="simple" csTypeId="urn:microsoft.com/office/officeart/2005/8/colors/accent1_2" csCatId="accent1" phldr="1"/>
      <dgm:spPr/>
      <dgm:t>
        <a:bodyPr/>
        <a:lstStyle/>
        <a:p>
          <a:endParaRPr lang="en-US"/>
        </a:p>
      </dgm:t>
    </dgm:pt>
    <dgm:pt modelId="{18F15C0D-24BE-49D1-91D2-778ADF8B75BF}">
      <dgm:prSet phldrT="[Text]"/>
      <dgm:spPr/>
      <dgm:t>
        <a:bodyPr/>
        <a:lstStyle/>
        <a:p>
          <a:r>
            <a:rPr lang="en-US" dirty="0"/>
            <a:t>Pilot</a:t>
          </a:r>
        </a:p>
      </dgm:t>
    </dgm:pt>
    <dgm:pt modelId="{25899D8C-5C87-4FAD-8D48-41E1CC1345D1}" type="parTrans" cxnId="{E5D38B37-CDEF-42DD-9BB7-DE5CA26985D5}">
      <dgm:prSet/>
      <dgm:spPr/>
      <dgm:t>
        <a:bodyPr/>
        <a:lstStyle/>
        <a:p>
          <a:endParaRPr lang="en-US"/>
        </a:p>
      </dgm:t>
    </dgm:pt>
    <dgm:pt modelId="{E0C85F22-F177-4093-9A20-59A7CC4C42B2}" type="sibTrans" cxnId="{E5D38B37-CDEF-42DD-9BB7-DE5CA26985D5}">
      <dgm:prSet/>
      <dgm:spPr/>
      <dgm:t>
        <a:bodyPr/>
        <a:lstStyle/>
        <a:p>
          <a:endParaRPr lang="en-US"/>
        </a:p>
      </dgm:t>
    </dgm:pt>
    <dgm:pt modelId="{CE88DE76-B389-47FD-9763-3FC0E193A5F4}">
      <dgm:prSet phldrT="[Text]"/>
      <dgm:spPr/>
      <dgm:t>
        <a:bodyPr/>
        <a:lstStyle/>
        <a:p>
          <a:r>
            <a:rPr lang="en-US" dirty="0"/>
            <a:t>Parallel</a:t>
          </a:r>
        </a:p>
      </dgm:t>
    </dgm:pt>
    <dgm:pt modelId="{27A35FCB-22D6-4221-9236-0CEA737B78AE}" type="parTrans" cxnId="{098A47F1-B6EC-4DFD-AA24-541478EC3436}">
      <dgm:prSet/>
      <dgm:spPr/>
      <dgm:t>
        <a:bodyPr/>
        <a:lstStyle/>
        <a:p>
          <a:endParaRPr lang="en-US"/>
        </a:p>
      </dgm:t>
    </dgm:pt>
    <dgm:pt modelId="{9358CEFC-3725-4900-BE9D-1A12794E1564}" type="sibTrans" cxnId="{098A47F1-B6EC-4DFD-AA24-541478EC3436}">
      <dgm:prSet/>
      <dgm:spPr/>
      <dgm:t>
        <a:bodyPr/>
        <a:lstStyle/>
        <a:p>
          <a:endParaRPr lang="en-US"/>
        </a:p>
      </dgm:t>
    </dgm:pt>
    <dgm:pt modelId="{F9F3327D-636D-44FB-9FFD-E82603F9DCE2}">
      <dgm:prSet phldrT="[Text]"/>
      <dgm:spPr/>
      <dgm:t>
        <a:bodyPr/>
        <a:lstStyle/>
        <a:p>
          <a:r>
            <a:rPr lang="en-US" dirty="0"/>
            <a:t>Go Live</a:t>
          </a:r>
        </a:p>
      </dgm:t>
    </dgm:pt>
    <dgm:pt modelId="{E98A7F99-5C46-468F-83D5-111A83A58733}" type="parTrans" cxnId="{04C94933-3068-4052-A275-E02E86711992}">
      <dgm:prSet/>
      <dgm:spPr/>
      <dgm:t>
        <a:bodyPr/>
        <a:lstStyle/>
        <a:p>
          <a:endParaRPr lang="en-US"/>
        </a:p>
      </dgm:t>
    </dgm:pt>
    <dgm:pt modelId="{C6D51DB8-F6B2-43AB-BB6E-D81BFB30E4F1}" type="sibTrans" cxnId="{04C94933-3068-4052-A275-E02E86711992}">
      <dgm:prSet/>
      <dgm:spPr/>
      <dgm:t>
        <a:bodyPr/>
        <a:lstStyle/>
        <a:p>
          <a:endParaRPr lang="en-US"/>
        </a:p>
      </dgm:t>
    </dgm:pt>
    <dgm:pt modelId="{7801DF45-F39B-43DF-B377-11D017FE3D08}" type="pres">
      <dgm:prSet presAssocID="{9A1FB581-AD4E-4D8D-8114-8584BD409AC8}" presName="Name0" presStyleCnt="0">
        <dgm:presLayoutVars>
          <dgm:chMax val="7"/>
          <dgm:chPref val="7"/>
          <dgm:dir/>
          <dgm:animLvl val="lvl"/>
        </dgm:presLayoutVars>
      </dgm:prSet>
      <dgm:spPr/>
    </dgm:pt>
    <dgm:pt modelId="{AC47AD7A-AF76-40C4-AA27-8C5E1A2C0B94}" type="pres">
      <dgm:prSet presAssocID="{18F15C0D-24BE-49D1-91D2-778ADF8B75BF}" presName="Accent1" presStyleCnt="0"/>
      <dgm:spPr/>
    </dgm:pt>
    <dgm:pt modelId="{97A8ABFD-3C58-4694-BC19-8E513D1C9C8E}" type="pres">
      <dgm:prSet presAssocID="{18F15C0D-24BE-49D1-91D2-778ADF8B75BF}" presName="Accent" presStyleLbl="node1" presStyleIdx="0" presStyleCnt="3"/>
      <dgm:spPr/>
    </dgm:pt>
    <dgm:pt modelId="{94EC470B-1382-489F-A8B0-244665BDDAE2}" type="pres">
      <dgm:prSet presAssocID="{18F15C0D-24BE-49D1-91D2-778ADF8B75BF}" presName="Parent1" presStyleLbl="revTx" presStyleIdx="0" presStyleCnt="3">
        <dgm:presLayoutVars>
          <dgm:chMax val="1"/>
          <dgm:chPref val="1"/>
          <dgm:bulletEnabled val="1"/>
        </dgm:presLayoutVars>
      </dgm:prSet>
      <dgm:spPr/>
    </dgm:pt>
    <dgm:pt modelId="{A288834F-C470-4106-A027-450FED513EF2}" type="pres">
      <dgm:prSet presAssocID="{CE88DE76-B389-47FD-9763-3FC0E193A5F4}" presName="Accent2" presStyleCnt="0"/>
      <dgm:spPr/>
    </dgm:pt>
    <dgm:pt modelId="{B0BEA868-E43A-4406-81A1-B84B200AF42E}" type="pres">
      <dgm:prSet presAssocID="{CE88DE76-B389-47FD-9763-3FC0E193A5F4}" presName="Accent" presStyleLbl="node1" presStyleIdx="1" presStyleCnt="3"/>
      <dgm:spPr/>
    </dgm:pt>
    <dgm:pt modelId="{54261236-88B9-4884-8BF9-7C2D6CB7575A}" type="pres">
      <dgm:prSet presAssocID="{CE88DE76-B389-47FD-9763-3FC0E193A5F4}" presName="Parent2" presStyleLbl="revTx" presStyleIdx="1" presStyleCnt="3">
        <dgm:presLayoutVars>
          <dgm:chMax val="1"/>
          <dgm:chPref val="1"/>
          <dgm:bulletEnabled val="1"/>
        </dgm:presLayoutVars>
      </dgm:prSet>
      <dgm:spPr/>
    </dgm:pt>
    <dgm:pt modelId="{44695984-63B0-4E76-94E7-4BF348FC9128}" type="pres">
      <dgm:prSet presAssocID="{F9F3327D-636D-44FB-9FFD-E82603F9DCE2}" presName="Accent3" presStyleCnt="0"/>
      <dgm:spPr/>
    </dgm:pt>
    <dgm:pt modelId="{5C6614B3-6F8F-4A77-8220-DBE18686C55E}" type="pres">
      <dgm:prSet presAssocID="{F9F3327D-636D-44FB-9FFD-E82603F9DCE2}" presName="Accent" presStyleLbl="node1" presStyleIdx="2" presStyleCnt="3"/>
      <dgm:spPr/>
    </dgm:pt>
    <dgm:pt modelId="{3FC7CD17-41AB-4627-8123-DB522EC9DD5E}" type="pres">
      <dgm:prSet presAssocID="{F9F3327D-636D-44FB-9FFD-E82603F9DCE2}" presName="Parent3" presStyleLbl="revTx" presStyleIdx="2" presStyleCnt="3">
        <dgm:presLayoutVars>
          <dgm:chMax val="1"/>
          <dgm:chPref val="1"/>
          <dgm:bulletEnabled val="1"/>
        </dgm:presLayoutVars>
      </dgm:prSet>
      <dgm:spPr/>
    </dgm:pt>
  </dgm:ptLst>
  <dgm:cxnLst>
    <dgm:cxn modelId="{5CC9B500-F3E5-4FE6-A61E-09EF1054733C}" type="presOf" srcId="{CE88DE76-B389-47FD-9763-3FC0E193A5F4}" destId="{54261236-88B9-4884-8BF9-7C2D6CB7575A}" srcOrd="0" destOrd="0" presId="urn:microsoft.com/office/officeart/2009/layout/CircleArrowProcess"/>
    <dgm:cxn modelId="{597BC106-A427-4C29-9284-A9CC1F1F87CA}" type="presOf" srcId="{9A1FB581-AD4E-4D8D-8114-8584BD409AC8}" destId="{7801DF45-F39B-43DF-B377-11D017FE3D08}" srcOrd="0" destOrd="0" presId="urn:microsoft.com/office/officeart/2009/layout/CircleArrowProcess"/>
    <dgm:cxn modelId="{D1014F20-236D-447F-BEE1-E4E4760FCDFF}" type="presOf" srcId="{F9F3327D-636D-44FB-9FFD-E82603F9DCE2}" destId="{3FC7CD17-41AB-4627-8123-DB522EC9DD5E}" srcOrd="0" destOrd="0" presId="urn:microsoft.com/office/officeart/2009/layout/CircleArrowProcess"/>
    <dgm:cxn modelId="{24773D30-8E46-4843-8865-626DB31A534F}" type="presOf" srcId="{18F15C0D-24BE-49D1-91D2-778ADF8B75BF}" destId="{94EC470B-1382-489F-A8B0-244665BDDAE2}" srcOrd="0" destOrd="0" presId="urn:microsoft.com/office/officeart/2009/layout/CircleArrowProcess"/>
    <dgm:cxn modelId="{04C94933-3068-4052-A275-E02E86711992}" srcId="{9A1FB581-AD4E-4D8D-8114-8584BD409AC8}" destId="{F9F3327D-636D-44FB-9FFD-E82603F9DCE2}" srcOrd="2" destOrd="0" parTransId="{E98A7F99-5C46-468F-83D5-111A83A58733}" sibTransId="{C6D51DB8-F6B2-43AB-BB6E-D81BFB30E4F1}"/>
    <dgm:cxn modelId="{E5D38B37-CDEF-42DD-9BB7-DE5CA26985D5}" srcId="{9A1FB581-AD4E-4D8D-8114-8584BD409AC8}" destId="{18F15C0D-24BE-49D1-91D2-778ADF8B75BF}" srcOrd="0" destOrd="0" parTransId="{25899D8C-5C87-4FAD-8D48-41E1CC1345D1}" sibTransId="{E0C85F22-F177-4093-9A20-59A7CC4C42B2}"/>
    <dgm:cxn modelId="{098A47F1-B6EC-4DFD-AA24-541478EC3436}" srcId="{9A1FB581-AD4E-4D8D-8114-8584BD409AC8}" destId="{CE88DE76-B389-47FD-9763-3FC0E193A5F4}" srcOrd="1" destOrd="0" parTransId="{27A35FCB-22D6-4221-9236-0CEA737B78AE}" sibTransId="{9358CEFC-3725-4900-BE9D-1A12794E1564}"/>
    <dgm:cxn modelId="{98DAD5C0-A9C7-4794-A77B-B875B631BE23}" type="presParOf" srcId="{7801DF45-F39B-43DF-B377-11D017FE3D08}" destId="{AC47AD7A-AF76-40C4-AA27-8C5E1A2C0B94}" srcOrd="0" destOrd="0" presId="urn:microsoft.com/office/officeart/2009/layout/CircleArrowProcess"/>
    <dgm:cxn modelId="{4A2119A2-E881-4A18-9B70-F33206384EE2}" type="presParOf" srcId="{AC47AD7A-AF76-40C4-AA27-8C5E1A2C0B94}" destId="{97A8ABFD-3C58-4694-BC19-8E513D1C9C8E}" srcOrd="0" destOrd="0" presId="urn:microsoft.com/office/officeart/2009/layout/CircleArrowProcess"/>
    <dgm:cxn modelId="{CF7E3B44-8692-458A-B434-C551C1297F46}" type="presParOf" srcId="{7801DF45-F39B-43DF-B377-11D017FE3D08}" destId="{94EC470B-1382-489F-A8B0-244665BDDAE2}" srcOrd="1" destOrd="0" presId="urn:microsoft.com/office/officeart/2009/layout/CircleArrowProcess"/>
    <dgm:cxn modelId="{74DBBA78-BEF4-4EB3-B45E-8DF732A5BD0B}" type="presParOf" srcId="{7801DF45-F39B-43DF-B377-11D017FE3D08}" destId="{A288834F-C470-4106-A027-450FED513EF2}" srcOrd="2" destOrd="0" presId="urn:microsoft.com/office/officeart/2009/layout/CircleArrowProcess"/>
    <dgm:cxn modelId="{52803A73-0DCF-4F91-B7EB-D74F784262D7}" type="presParOf" srcId="{A288834F-C470-4106-A027-450FED513EF2}" destId="{B0BEA868-E43A-4406-81A1-B84B200AF42E}" srcOrd="0" destOrd="0" presId="urn:microsoft.com/office/officeart/2009/layout/CircleArrowProcess"/>
    <dgm:cxn modelId="{6E0CA44C-D996-4912-A646-9AE079BA3CBF}" type="presParOf" srcId="{7801DF45-F39B-43DF-B377-11D017FE3D08}" destId="{54261236-88B9-4884-8BF9-7C2D6CB7575A}" srcOrd="3" destOrd="0" presId="urn:microsoft.com/office/officeart/2009/layout/CircleArrowProcess"/>
    <dgm:cxn modelId="{8319399E-89E7-4B40-8CA2-2E878EF3E02D}" type="presParOf" srcId="{7801DF45-F39B-43DF-B377-11D017FE3D08}" destId="{44695984-63B0-4E76-94E7-4BF348FC9128}" srcOrd="4" destOrd="0" presId="urn:microsoft.com/office/officeart/2009/layout/CircleArrowProcess"/>
    <dgm:cxn modelId="{F6CA584C-3BA0-41B1-B960-F6942C19AE2F}" type="presParOf" srcId="{44695984-63B0-4E76-94E7-4BF348FC9128}" destId="{5C6614B3-6F8F-4A77-8220-DBE18686C55E}" srcOrd="0" destOrd="0" presId="urn:microsoft.com/office/officeart/2009/layout/CircleArrowProcess"/>
    <dgm:cxn modelId="{782BBDBE-19C6-427E-B8FD-9EF96D4AF348}" type="presParOf" srcId="{7801DF45-F39B-43DF-B377-11D017FE3D08}" destId="{3FC7CD17-41AB-4627-8123-DB522EC9DD5E}" srcOrd="5" destOrd="0" presId="urn:microsoft.com/office/officeart/2009/layout/CircleArrow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D386B97-5F9D-4F4D-ADCF-D6B4A4717EFF}" type="doc">
      <dgm:prSet loTypeId="urn:microsoft.com/office/officeart/2005/8/layout/venn3" loCatId="relationship" qsTypeId="urn:microsoft.com/office/officeart/2005/8/quickstyle/simple1" qsCatId="simple" csTypeId="urn:microsoft.com/office/officeart/2005/8/colors/accent1_2" csCatId="accent1" phldr="1"/>
      <dgm:spPr/>
    </dgm:pt>
    <dgm:pt modelId="{7879BB35-D894-4BB9-928A-939AF04958FF}">
      <dgm:prSet phldrT="[Text]"/>
      <dgm:spPr/>
      <dgm:t>
        <a:bodyPr/>
        <a:lstStyle/>
        <a:p>
          <a:r>
            <a:rPr lang="en-US" dirty="0"/>
            <a:t>PEIMS FALL</a:t>
          </a:r>
        </a:p>
      </dgm:t>
    </dgm:pt>
    <dgm:pt modelId="{A36912F0-7133-415B-9A06-ECFE80FD3D48}" type="parTrans" cxnId="{0240B99D-EA3D-49B8-87C4-7193E63A8D42}">
      <dgm:prSet/>
      <dgm:spPr/>
      <dgm:t>
        <a:bodyPr/>
        <a:lstStyle/>
        <a:p>
          <a:endParaRPr lang="en-US"/>
        </a:p>
      </dgm:t>
    </dgm:pt>
    <dgm:pt modelId="{17EC5353-AD33-4393-835E-DE776E9C8DAC}" type="sibTrans" cxnId="{0240B99D-EA3D-49B8-87C4-7193E63A8D42}">
      <dgm:prSet/>
      <dgm:spPr/>
      <dgm:t>
        <a:bodyPr/>
        <a:lstStyle/>
        <a:p>
          <a:endParaRPr lang="en-US"/>
        </a:p>
      </dgm:t>
    </dgm:pt>
    <dgm:pt modelId="{6E0ACBE7-C986-4943-8625-B5B20CF714EF}">
      <dgm:prSet phldrT="[Text]"/>
      <dgm:spPr/>
      <dgm:t>
        <a:bodyPr/>
        <a:lstStyle/>
        <a:p>
          <a:r>
            <a:rPr lang="en-US" dirty="0"/>
            <a:t>CLASS ROSTER FALL</a:t>
          </a:r>
        </a:p>
      </dgm:t>
    </dgm:pt>
    <dgm:pt modelId="{F022605F-805B-44ED-A1B3-6B139B4D8419}" type="parTrans" cxnId="{14559069-B6EF-4CF4-AF7D-B985B70EE236}">
      <dgm:prSet/>
      <dgm:spPr/>
      <dgm:t>
        <a:bodyPr/>
        <a:lstStyle/>
        <a:p>
          <a:endParaRPr lang="en-US"/>
        </a:p>
      </dgm:t>
    </dgm:pt>
    <dgm:pt modelId="{A8D4EF0E-7465-45E3-AA1F-C436CF732E24}" type="sibTrans" cxnId="{14559069-B6EF-4CF4-AF7D-B985B70EE236}">
      <dgm:prSet/>
      <dgm:spPr/>
      <dgm:t>
        <a:bodyPr/>
        <a:lstStyle/>
        <a:p>
          <a:endParaRPr lang="en-US"/>
        </a:p>
      </dgm:t>
    </dgm:pt>
    <dgm:pt modelId="{CA7D7A62-0683-412A-9868-21E3CE530D2F}">
      <dgm:prSet phldrT="[Text]"/>
      <dgm:spPr/>
      <dgm:t>
        <a:bodyPr/>
        <a:lstStyle/>
        <a:p>
          <a:r>
            <a:rPr lang="en-US" dirty="0"/>
            <a:t>CLASS ROSTER WINTER</a:t>
          </a:r>
        </a:p>
      </dgm:t>
    </dgm:pt>
    <dgm:pt modelId="{817ED91E-802D-4EF0-A46A-BA1A176303F4}" type="parTrans" cxnId="{A9CF4725-4387-4117-8DD8-46E52F51CF6A}">
      <dgm:prSet/>
      <dgm:spPr/>
      <dgm:t>
        <a:bodyPr/>
        <a:lstStyle/>
        <a:p>
          <a:endParaRPr lang="en-US"/>
        </a:p>
      </dgm:t>
    </dgm:pt>
    <dgm:pt modelId="{1796798A-FA3B-4405-AE3E-2786896FFA9F}" type="sibTrans" cxnId="{A9CF4725-4387-4117-8DD8-46E52F51CF6A}">
      <dgm:prSet/>
      <dgm:spPr/>
      <dgm:t>
        <a:bodyPr/>
        <a:lstStyle/>
        <a:p>
          <a:endParaRPr lang="en-US"/>
        </a:p>
      </dgm:t>
    </dgm:pt>
    <dgm:pt modelId="{204668B1-1880-4870-BB59-D00103D86F88}">
      <dgm:prSet phldrT="[Text]"/>
      <dgm:spPr/>
      <dgm:t>
        <a:bodyPr/>
        <a:lstStyle/>
        <a:p>
          <a:r>
            <a:rPr lang="en-US" dirty="0"/>
            <a:t>CHILD FIND</a:t>
          </a:r>
        </a:p>
      </dgm:t>
    </dgm:pt>
    <dgm:pt modelId="{8B09805D-026D-45D0-B8F6-7D584BD18B10}" type="parTrans" cxnId="{98672EF2-4D62-4B56-8D0B-7CA1E688284F}">
      <dgm:prSet/>
      <dgm:spPr/>
      <dgm:t>
        <a:bodyPr/>
        <a:lstStyle/>
        <a:p>
          <a:endParaRPr lang="en-US"/>
        </a:p>
      </dgm:t>
    </dgm:pt>
    <dgm:pt modelId="{B7893317-57D6-4C57-A447-282FFE770CC3}" type="sibTrans" cxnId="{98672EF2-4D62-4B56-8D0B-7CA1E688284F}">
      <dgm:prSet/>
      <dgm:spPr/>
      <dgm:t>
        <a:bodyPr/>
        <a:lstStyle/>
        <a:p>
          <a:endParaRPr lang="en-US"/>
        </a:p>
      </dgm:t>
    </dgm:pt>
    <dgm:pt modelId="{773537DA-65B5-4F7E-9ABE-5B5B29C797CD}" type="pres">
      <dgm:prSet presAssocID="{6D386B97-5F9D-4F4D-ADCF-D6B4A4717EFF}" presName="Name0" presStyleCnt="0">
        <dgm:presLayoutVars>
          <dgm:dir/>
          <dgm:resizeHandles val="exact"/>
        </dgm:presLayoutVars>
      </dgm:prSet>
      <dgm:spPr/>
    </dgm:pt>
    <dgm:pt modelId="{102AB85E-898A-4E83-835D-880E09D4E6A2}" type="pres">
      <dgm:prSet presAssocID="{7879BB35-D894-4BB9-928A-939AF04958FF}" presName="Name5" presStyleLbl="vennNode1" presStyleIdx="0" presStyleCnt="4">
        <dgm:presLayoutVars>
          <dgm:bulletEnabled val="1"/>
        </dgm:presLayoutVars>
      </dgm:prSet>
      <dgm:spPr/>
    </dgm:pt>
    <dgm:pt modelId="{8B32CE2E-EB86-45FE-84BB-7344038E7B71}" type="pres">
      <dgm:prSet presAssocID="{17EC5353-AD33-4393-835E-DE776E9C8DAC}" presName="space" presStyleCnt="0"/>
      <dgm:spPr/>
    </dgm:pt>
    <dgm:pt modelId="{6E64889D-2441-4570-9202-7173AB3F23A6}" type="pres">
      <dgm:prSet presAssocID="{6E0ACBE7-C986-4943-8625-B5B20CF714EF}" presName="Name5" presStyleLbl="vennNode1" presStyleIdx="1" presStyleCnt="4">
        <dgm:presLayoutVars>
          <dgm:bulletEnabled val="1"/>
        </dgm:presLayoutVars>
      </dgm:prSet>
      <dgm:spPr/>
    </dgm:pt>
    <dgm:pt modelId="{C75C8452-4B69-4099-B63F-533CCBB2B557}" type="pres">
      <dgm:prSet presAssocID="{A8D4EF0E-7465-45E3-AA1F-C436CF732E24}" presName="space" presStyleCnt="0"/>
      <dgm:spPr/>
    </dgm:pt>
    <dgm:pt modelId="{73284AC2-CA96-4B68-9269-5F6234604AC4}" type="pres">
      <dgm:prSet presAssocID="{CA7D7A62-0683-412A-9868-21E3CE530D2F}" presName="Name5" presStyleLbl="vennNode1" presStyleIdx="2" presStyleCnt="4">
        <dgm:presLayoutVars>
          <dgm:bulletEnabled val="1"/>
        </dgm:presLayoutVars>
      </dgm:prSet>
      <dgm:spPr/>
    </dgm:pt>
    <dgm:pt modelId="{7B139F62-FE4E-44B1-AB9F-C83D0888CD54}" type="pres">
      <dgm:prSet presAssocID="{1796798A-FA3B-4405-AE3E-2786896FFA9F}" presName="space" presStyleCnt="0"/>
      <dgm:spPr/>
    </dgm:pt>
    <dgm:pt modelId="{30E8C6C7-476C-4C81-9BC6-76A317DD71A9}" type="pres">
      <dgm:prSet presAssocID="{204668B1-1880-4870-BB59-D00103D86F88}" presName="Name5" presStyleLbl="vennNode1" presStyleIdx="3" presStyleCnt="4">
        <dgm:presLayoutVars>
          <dgm:bulletEnabled val="1"/>
        </dgm:presLayoutVars>
      </dgm:prSet>
      <dgm:spPr/>
    </dgm:pt>
  </dgm:ptLst>
  <dgm:cxnLst>
    <dgm:cxn modelId="{EDBE3106-19BC-4046-A492-45D5A4815196}" type="presOf" srcId="{6D386B97-5F9D-4F4D-ADCF-D6B4A4717EFF}" destId="{773537DA-65B5-4F7E-9ABE-5B5B29C797CD}" srcOrd="0" destOrd="0" presId="urn:microsoft.com/office/officeart/2005/8/layout/venn3"/>
    <dgm:cxn modelId="{FC206D24-B504-4C9E-87D5-600A956EEC12}" type="presOf" srcId="{204668B1-1880-4870-BB59-D00103D86F88}" destId="{30E8C6C7-476C-4C81-9BC6-76A317DD71A9}" srcOrd="0" destOrd="0" presId="urn:microsoft.com/office/officeart/2005/8/layout/venn3"/>
    <dgm:cxn modelId="{A9CF4725-4387-4117-8DD8-46E52F51CF6A}" srcId="{6D386B97-5F9D-4F4D-ADCF-D6B4A4717EFF}" destId="{CA7D7A62-0683-412A-9868-21E3CE530D2F}" srcOrd="2" destOrd="0" parTransId="{817ED91E-802D-4EF0-A46A-BA1A176303F4}" sibTransId="{1796798A-FA3B-4405-AE3E-2786896FFA9F}"/>
    <dgm:cxn modelId="{14559069-B6EF-4CF4-AF7D-B985B70EE236}" srcId="{6D386B97-5F9D-4F4D-ADCF-D6B4A4717EFF}" destId="{6E0ACBE7-C986-4943-8625-B5B20CF714EF}" srcOrd="1" destOrd="0" parTransId="{F022605F-805B-44ED-A1B3-6B139B4D8419}" sibTransId="{A8D4EF0E-7465-45E3-AA1F-C436CF732E24}"/>
    <dgm:cxn modelId="{62409C81-00E1-4D70-9740-316D6D0C3595}" type="presOf" srcId="{7879BB35-D894-4BB9-928A-939AF04958FF}" destId="{102AB85E-898A-4E83-835D-880E09D4E6A2}" srcOrd="0" destOrd="0" presId="urn:microsoft.com/office/officeart/2005/8/layout/venn3"/>
    <dgm:cxn modelId="{7CEA3190-6641-4136-AB0A-5227DB25929A}" type="presOf" srcId="{CA7D7A62-0683-412A-9868-21E3CE530D2F}" destId="{73284AC2-CA96-4B68-9269-5F6234604AC4}" srcOrd="0" destOrd="0" presId="urn:microsoft.com/office/officeart/2005/8/layout/venn3"/>
    <dgm:cxn modelId="{0240B99D-EA3D-49B8-87C4-7193E63A8D42}" srcId="{6D386B97-5F9D-4F4D-ADCF-D6B4A4717EFF}" destId="{7879BB35-D894-4BB9-928A-939AF04958FF}" srcOrd="0" destOrd="0" parTransId="{A36912F0-7133-415B-9A06-ECFE80FD3D48}" sibTransId="{17EC5353-AD33-4393-835E-DE776E9C8DAC}"/>
    <dgm:cxn modelId="{79519ABD-1B1B-40B8-831E-9BF9DB374F0C}" type="presOf" srcId="{6E0ACBE7-C986-4943-8625-B5B20CF714EF}" destId="{6E64889D-2441-4570-9202-7173AB3F23A6}" srcOrd="0" destOrd="0" presId="urn:microsoft.com/office/officeart/2005/8/layout/venn3"/>
    <dgm:cxn modelId="{98672EF2-4D62-4B56-8D0B-7CA1E688284F}" srcId="{6D386B97-5F9D-4F4D-ADCF-D6B4A4717EFF}" destId="{204668B1-1880-4870-BB59-D00103D86F88}" srcOrd="3" destOrd="0" parTransId="{8B09805D-026D-45D0-B8F6-7D584BD18B10}" sibTransId="{B7893317-57D6-4C57-A447-282FFE770CC3}"/>
    <dgm:cxn modelId="{47AE95FC-1EE4-496D-B2C5-FBB98E832ACD}" type="presParOf" srcId="{773537DA-65B5-4F7E-9ABE-5B5B29C797CD}" destId="{102AB85E-898A-4E83-835D-880E09D4E6A2}" srcOrd="0" destOrd="0" presId="urn:microsoft.com/office/officeart/2005/8/layout/venn3"/>
    <dgm:cxn modelId="{1CDFC024-B02A-46E4-9FD0-E2874A5F46D3}" type="presParOf" srcId="{773537DA-65B5-4F7E-9ABE-5B5B29C797CD}" destId="{8B32CE2E-EB86-45FE-84BB-7344038E7B71}" srcOrd="1" destOrd="0" presId="urn:microsoft.com/office/officeart/2005/8/layout/venn3"/>
    <dgm:cxn modelId="{DC296125-1885-4E2F-8766-798981D065B1}" type="presParOf" srcId="{773537DA-65B5-4F7E-9ABE-5B5B29C797CD}" destId="{6E64889D-2441-4570-9202-7173AB3F23A6}" srcOrd="2" destOrd="0" presId="urn:microsoft.com/office/officeart/2005/8/layout/venn3"/>
    <dgm:cxn modelId="{557A12E7-820A-4BA6-BAA1-5E1C47A356F3}" type="presParOf" srcId="{773537DA-65B5-4F7E-9ABE-5B5B29C797CD}" destId="{C75C8452-4B69-4099-B63F-533CCBB2B557}" srcOrd="3" destOrd="0" presId="urn:microsoft.com/office/officeart/2005/8/layout/venn3"/>
    <dgm:cxn modelId="{DCAB8258-7F87-4D61-A2C3-D11DA1E048D3}" type="presParOf" srcId="{773537DA-65B5-4F7E-9ABE-5B5B29C797CD}" destId="{73284AC2-CA96-4B68-9269-5F6234604AC4}" srcOrd="4" destOrd="0" presId="urn:microsoft.com/office/officeart/2005/8/layout/venn3"/>
    <dgm:cxn modelId="{31C804CD-C5E2-4029-8A33-890C9950ABE2}" type="presParOf" srcId="{773537DA-65B5-4F7E-9ABE-5B5B29C797CD}" destId="{7B139F62-FE4E-44B1-AB9F-C83D0888CD54}" srcOrd="5" destOrd="0" presId="urn:microsoft.com/office/officeart/2005/8/layout/venn3"/>
    <dgm:cxn modelId="{F5113F0E-2539-4D34-8759-2F6679A6FCC5}" type="presParOf" srcId="{773537DA-65B5-4F7E-9ABE-5B5B29C797CD}" destId="{30E8C6C7-476C-4C81-9BC6-76A317DD71A9}" srcOrd="6" destOrd="0" presId="urn:microsoft.com/office/officeart/2005/8/layout/ven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BA112C1-CD0D-4118-9046-1669F1DCDB57}" type="doc">
      <dgm:prSet loTypeId="urn:microsoft.com/office/officeart/2005/8/layout/vList4" loCatId="picture" qsTypeId="urn:microsoft.com/office/officeart/2005/8/quickstyle/simple1" qsCatId="simple" csTypeId="urn:microsoft.com/office/officeart/2005/8/colors/accent1_2" csCatId="accent1" phldr="1"/>
      <dgm:spPr/>
      <dgm:t>
        <a:bodyPr/>
        <a:lstStyle/>
        <a:p>
          <a:endParaRPr lang="en-US"/>
        </a:p>
      </dgm:t>
    </dgm:pt>
    <dgm:pt modelId="{67B9C4AF-C475-4026-B095-D96191E0C81B}">
      <dgm:prSet phldrT="[Text]" custT="1"/>
      <dgm:spPr/>
      <dgm:t>
        <a:bodyPr/>
        <a:lstStyle/>
        <a:p>
          <a:r>
            <a:rPr lang="en-US" sz="3200" dirty="0"/>
            <a:t>Aeries </a:t>
          </a:r>
        </a:p>
        <a:p>
          <a:r>
            <a:rPr lang="en-US" sz="2000" dirty="0"/>
            <a:t>February 2022</a:t>
          </a:r>
        </a:p>
      </dgm:t>
    </dgm:pt>
    <dgm:pt modelId="{996D36ED-8E29-472C-B6F4-4890FB05FDF9}" type="parTrans" cxnId="{BB9F0A5E-7905-4471-83C0-FFA44AECD0C8}">
      <dgm:prSet/>
      <dgm:spPr/>
      <dgm:t>
        <a:bodyPr/>
        <a:lstStyle/>
        <a:p>
          <a:endParaRPr lang="en-US"/>
        </a:p>
      </dgm:t>
    </dgm:pt>
    <dgm:pt modelId="{B377AD47-1AB0-43E3-B816-458D9EF8E31E}" type="sibTrans" cxnId="{BB9F0A5E-7905-4471-83C0-FFA44AECD0C8}">
      <dgm:prSet/>
      <dgm:spPr/>
      <dgm:t>
        <a:bodyPr/>
        <a:lstStyle/>
        <a:p>
          <a:endParaRPr lang="en-US"/>
        </a:p>
      </dgm:t>
    </dgm:pt>
    <dgm:pt modelId="{ADE69334-29DD-4540-84A7-131B985FFDA4}">
      <dgm:prSet phldrT="[Text]" custT="1"/>
      <dgm:spPr/>
      <dgm:t>
        <a:bodyPr/>
        <a:lstStyle/>
        <a:p>
          <a:r>
            <a:rPr lang="en-US" sz="3200" dirty="0"/>
            <a:t>Skyward </a:t>
          </a:r>
        </a:p>
        <a:p>
          <a:r>
            <a:rPr lang="en-US" sz="2000" dirty="0"/>
            <a:t>February 2022</a:t>
          </a:r>
        </a:p>
      </dgm:t>
    </dgm:pt>
    <dgm:pt modelId="{349EC5E4-B30F-428D-A76C-F0092714194E}" type="parTrans" cxnId="{5AB9C2DC-D784-45DD-945C-DBB1E8C71036}">
      <dgm:prSet/>
      <dgm:spPr/>
      <dgm:t>
        <a:bodyPr/>
        <a:lstStyle/>
        <a:p>
          <a:endParaRPr lang="en-US"/>
        </a:p>
      </dgm:t>
    </dgm:pt>
    <dgm:pt modelId="{ADE284CD-A77E-40D3-B3FB-C0DEA178EA0A}" type="sibTrans" cxnId="{5AB9C2DC-D784-45DD-945C-DBB1E8C71036}">
      <dgm:prSet/>
      <dgm:spPr/>
      <dgm:t>
        <a:bodyPr/>
        <a:lstStyle/>
        <a:p>
          <a:endParaRPr lang="en-US"/>
        </a:p>
      </dgm:t>
    </dgm:pt>
    <dgm:pt modelId="{F2B96DC8-B489-4DA4-BE91-AB23C3F55BD9}">
      <dgm:prSet phldrT="[Text]" custT="1"/>
      <dgm:spPr/>
      <dgm:t>
        <a:bodyPr/>
        <a:lstStyle/>
        <a:p>
          <a:r>
            <a:rPr lang="en-US" sz="3200" dirty="0"/>
            <a:t>PowerSchool</a:t>
          </a:r>
        </a:p>
        <a:p>
          <a:r>
            <a:rPr lang="en-US" sz="2000" dirty="0"/>
            <a:t>August 2021</a:t>
          </a:r>
        </a:p>
      </dgm:t>
    </dgm:pt>
    <dgm:pt modelId="{AAF5E9BF-BAFA-40F3-A0B3-15A3098F46FD}" type="sibTrans" cxnId="{F7BB85AF-0DE6-438F-B8DF-D65B1DA79D10}">
      <dgm:prSet/>
      <dgm:spPr/>
      <dgm:t>
        <a:bodyPr/>
        <a:lstStyle/>
        <a:p>
          <a:endParaRPr lang="en-US"/>
        </a:p>
      </dgm:t>
    </dgm:pt>
    <dgm:pt modelId="{FCBD3D62-3AD2-413E-90CF-E5927BECC476}" type="parTrans" cxnId="{F7BB85AF-0DE6-438F-B8DF-D65B1DA79D10}">
      <dgm:prSet/>
      <dgm:spPr/>
      <dgm:t>
        <a:bodyPr/>
        <a:lstStyle/>
        <a:p>
          <a:endParaRPr lang="en-US"/>
        </a:p>
      </dgm:t>
    </dgm:pt>
    <dgm:pt modelId="{25B81E3B-7D49-4ED9-B338-CD6E3E913EA2}" type="pres">
      <dgm:prSet presAssocID="{8BA112C1-CD0D-4118-9046-1669F1DCDB57}" presName="linear" presStyleCnt="0">
        <dgm:presLayoutVars>
          <dgm:dir/>
          <dgm:resizeHandles val="exact"/>
        </dgm:presLayoutVars>
      </dgm:prSet>
      <dgm:spPr/>
    </dgm:pt>
    <dgm:pt modelId="{8F138207-DA95-41D1-B10C-97453CF3786E}" type="pres">
      <dgm:prSet presAssocID="{F2B96DC8-B489-4DA4-BE91-AB23C3F55BD9}" presName="comp" presStyleCnt="0"/>
      <dgm:spPr/>
    </dgm:pt>
    <dgm:pt modelId="{CC109C5F-8810-49F2-9223-E6626383CC20}" type="pres">
      <dgm:prSet presAssocID="{F2B96DC8-B489-4DA4-BE91-AB23C3F55BD9}" presName="box" presStyleLbl="node1" presStyleIdx="0" presStyleCnt="3"/>
      <dgm:spPr/>
    </dgm:pt>
    <dgm:pt modelId="{74DA1E13-B319-46EF-8E75-AF4EEE1DD1B2}" type="pres">
      <dgm:prSet presAssocID="{F2B96DC8-B489-4DA4-BE91-AB23C3F55BD9}" presName="img" presStyleLbl="fgImgPlace1" presStyleIdx="0" presStyleCnt="3"/>
      <dgm:spPr>
        <a:blipFill>
          <a:blip xmlns:r="http://schemas.openxmlformats.org/officeDocument/2006/relationships" r:embed="rId1"/>
          <a:srcRect/>
          <a:stretch>
            <a:fillRect l="-7000" r="-7000"/>
          </a:stretch>
        </a:blipFill>
      </dgm:spPr>
    </dgm:pt>
    <dgm:pt modelId="{17FB77BB-083E-46F7-8180-520554D37A96}" type="pres">
      <dgm:prSet presAssocID="{F2B96DC8-B489-4DA4-BE91-AB23C3F55BD9}" presName="text" presStyleLbl="node1" presStyleIdx="0" presStyleCnt="3">
        <dgm:presLayoutVars>
          <dgm:bulletEnabled val="1"/>
        </dgm:presLayoutVars>
      </dgm:prSet>
      <dgm:spPr/>
    </dgm:pt>
    <dgm:pt modelId="{BB01AB30-A854-42C3-A7FE-1994F9C89226}" type="pres">
      <dgm:prSet presAssocID="{AAF5E9BF-BAFA-40F3-A0B3-15A3098F46FD}" presName="spacer" presStyleCnt="0"/>
      <dgm:spPr/>
    </dgm:pt>
    <dgm:pt modelId="{808C2754-2E66-4DED-ACBF-7D655E060851}" type="pres">
      <dgm:prSet presAssocID="{67B9C4AF-C475-4026-B095-D96191E0C81B}" presName="comp" presStyleCnt="0"/>
      <dgm:spPr/>
    </dgm:pt>
    <dgm:pt modelId="{E93DB70B-BD20-4FC6-B27B-E191E61EBBCD}" type="pres">
      <dgm:prSet presAssocID="{67B9C4AF-C475-4026-B095-D96191E0C81B}" presName="box" presStyleLbl="node1" presStyleIdx="1" presStyleCnt="3"/>
      <dgm:spPr/>
    </dgm:pt>
    <dgm:pt modelId="{DEB1B640-822F-4546-9409-420C8FC618DC}" type="pres">
      <dgm:prSet presAssocID="{67B9C4AF-C475-4026-B095-D96191E0C81B}"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dgm:spPr>
    </dgm:pt>
    <dgm:pt modelId="{38AF01DD-9570-4E28-A694-4B094462B166}" type="pres">
      <dgm:prSet presAssocID="{67B9C4AF-C475-4026-B095-D96191E0C81B}" presName="text" presStyleLbl="node1" presStyleIdx="1" presStyleCnt="3">
        <dgm:presLayoutVars>
          <dgm:bulletEnabled val="1"/>
        </dgm:presLayoutVars>
      </dgm:prSet>
      <dgm:spPr/>
    </dgm:pt>
    <dgm:pt modelId="{85524462-A82A-4FFD-A89B-DBE07C7AFEC8}" type="pres">
      <dgm:prSet presAssocID="{B377AD47-1AB0-43E3-B816-458D9EF8E31E}" presName="spacer" presStyleCnt="0"/>
      <dgm:spPr/>
    </dgm:pt>
    <dgm:pt modelId="{D800621C-26A3-4C0A-935E-8DAE97477A7E}" type="pres">
      <dgm:prSet presAssocID="{ADE69334-29DD-4540-84A7-131B985FFDA4}" presName="comp" presStyleCnt="0"/>
      <dgm:spPr/>
    </dgm:pt>
    <dgm:pt modelId="{9C41A9CA-A631-41D8-B4A3-18ED3FC10BF1}" type="pres">
      <dgm:prSet presAssocID="{ADE69334-29DD-4540-84A7-131B985FFDA4}" presName="box" presStyleLbl="node1" presStyleIdx="2" presStyleCnt="3"/>
      <dgm:spPr/>
    </dgm:pt>
    <dgm:pt modelId="{7D06A33C-E83D-48DE-B74A-FFEF4E64320A}" type="pres">
      <dgm:prSet presAssocID="{ADE69334-29DD-4540-84A7-131B985FFDA4}"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3000" r="-13000"/>
          </a:stretch>
        </a:blipFill>
      </dgm:spPr>
    </dgm:pt>
    <dgm:pt modelId="{7477E8DA-90EC-40CE-BE12-95B32485125E}" type="pres">
      <dgm:prSet presAssocID="{ADE69334-29DD-4540-84A7-131B985FFDA4}" presName="text" presStyleLbl="node1" presStyleIdx="2" presStyleCnt="3">
        <dgm:presLayoutVars>
          <dgm:bulletEnabled val="1"/>
        </dgm:presLayoutVars>
      </dgm:prSet>
      <dgm:spPr/>
    </dgm:pt>
  </dgm:ptLst>
  <dgm:cxnLst>
    <dgm:cxn modelId="{35F5F601-F1C4-46B0-BD0A-7DE29E00764D}" type="presOf" srcId="{F2B96DC8-B489-4DA4-BE91-AB23C3F55BD9}" destId="{CC109C5F-8810-49F2-9223-E6626383CC20}" srcOrd="0" destOrd="0" presId="urn:microsoft.com/office/officeart/2005/8/layout/vList4"/>
    <dgm:cxn modelId="{C61E1217-F265-4423-B5FF-FB9BD17BB79A}" type="presOf" srcId="{8BA112C1-CD0D-4118-9046-1669F1DCDB57}" destId="{25B81E3B-7D49-4ED9-B338-CD6E3E913EA2}" srcOrd="0" destOrd="0" presId="urn:microsoft.com/office/officeart/2005/8/layout/vList4"/>
    <dgm:cxn modelId="{BB9F0A5E-7905-4471-83C0-FFA44AECD0C8}" srcId="{8BA112C1-CD0D-4118-9046-1669F1DCDB57}" destId="{67B9C4AF-C475-4026-B095-D96191E0C81B}" srcOrd="1" destOrd="0" parTransId="{996D36ED-8E29-472C-B6F4-4890FB05FDF9}" sibTransId="{B377AD47-1AB0-43E3-B816-458D9EF8E31E}"/>
    <dgm:cxn modelId="{9F3E7B4B-5FBE-4E37-9386-A748FEAD348C}" type="presOf" srcId="{ADE69334-29DD-4540-84A7-131B985FFDA4}" destId="{7477E8DA-90EC-40CE-BE12-95B32485125E}" srcOrd="1" destOrd="0" presId="urn:microsoft.com/office/officeart/2005/8/layout/vList4"/>
    <dgm:cxn modelId="{1AA1486F-B58A-4FCF-BE98-753395D9F5D4}" type="presOf" srcId="{ADE69334-29DD-4540-84A7-131B985FFDA4}" destId="{9C41A9CA-A631-41D8-B4A3-18ED3FC10BF1}" srcOrd="0" destOrd="0" presId="urn:microsoft.com/office/officeart/2005/8/layout/vList4"/>
    <dgm:cxn modelId="{247ACB9C-FDFA-4789-ACBB-064CD97C599B}" type="presOf" srcId="{F2B96DC8-B489-4DA4-BE91-AB23C3F55BD9}" destId="{17FB77BB-083E-46F7-8180-520554D37A96}" srcOrd="1" destOrd="0" presId="urn:microsoft.com/office/officeart/2005/8/layout/vList4"/>
    <dgm:cxn modelId="{973629A9-23E9-45C6-A39B-529F72FE8F73}" type="presOf" srcId="{67B9C4AF-C475-4026-B095-D96191E0C81B}" destId="{E93DB70B-BD20-4FC6-B27B-E191E61EBBCD}" srcOrd="0" destOrd="0" presId="urn:microsoft.com/office/officeart/2005/8/layout/vList4"/>
    <dgm:cxn modelId="{F7BB85AF-0DE6-438F-B8DF-D65B1DA79D10}" srcId="{8BA112C1-CD0D-4118-9046-1669F1DCDB57}" destId="{F2B96DC8-B489-4DA4-BE91-AB23C3F55BD9}" srcOrd="0" destOrd="0" parTransId="{FCBD3D62-3AD2-413E-90CF-E5927BECC476}" sibTransId="{AAF5E9BF-BAFA-40F3-A0B3-15A3098F46FD}"/>
    <dgm:cxn modelId="{C86F96BC-8105-46AE-8626-BA6BA0794FC0}" type="presOf" srcId="{67B9C4AF-C475-4026-B095-D96191E0C81B}" destId="{38AF01DD-9570-4E28-A694-4B094462B166}" srcOrd="1" destOrd="0" presId="urn:microsoft.com/office/officeart/2005/8/layout/vList4"/>
    <dgm:cxn modelId="{5AB9C2DC-D784-45DD-945C-DBB1E8C71036}" srcId="{8BA112C1-CD0D-4118-9046-1669F1DCDB57}" destId="{ADE69334-29DD-4540-84A7-131B985FFDA4}" srcOrd="2" destOrd="0" parTransId="{349EC5E4-B30F-428D-A76C-F0092714194E}" sibTransId="{ADE284CD-A77E-40D3-B3FB-C0DEA178EA0A}"/>
    <dgm:cxn modelId="{E1E9C2EB-A79B-4C6F-B61D-52A6FEE9D04D}" type="presParOf" srcId="{25B81E3B-7D49-4ED9-B338-CD6E3E913EA2}" destId="{8F138207-DA95-41D1-B10C-97453CF3786E}" srcOrd="0" destOrd="0" presId="urn:microsoft.com/office/officeart/2005/8/layout/vList4"/>
    <dgm:cxn modelId="{0DD14CAB-5E4D-4A36-8AAE-87C9056F6003}" type="presParOf" srcId="{8F138207-DA95-41D1-B10C-97453CF3786E}" destId="{CC109C5F-8810-49F2-9223-E6626383CC20}" srcOrd="0" destOrd="0" presId="urn:microsoft.com/office/officeart/2005/8/layout/vList4"/>
    <dgm:cxn modelId="{A0851FB6-34BC-49D2-A679-B5AC3DD2AB7E}" type="presParOf" srcId="{8F138207-DA95-41D1-B10C-97453CF3786E}" destId="{74DA1E13-B319-46EF-8E75-AF4EEE1DD1B2}" srcOrd="1" destOrd="0" presId="urn:microsoft.com/office/officeart/2005/8/layout/vList4"/>
    <dgm:cxn modelId="{09D14004-F4B5-4C24-A7F0-6C5335A48D22}" type="presParOf" srcId="{8F138207-DA95-41D1-B10C-97453CF3786E}" destId="{17FB77BB-083E-46F7-8180-520554D37A96}" srcOrd="2" destOrd="0" presId="urn:microsoft.com/office/officeart/2005/8/layout/vList4"/>
    <dgm:cxn modelId="{002ACCF0-A8BC-4FAB-BFE9-44CA666C017A}" type="presParOf" srcId="{25B81E3B-7D49-4ED9-B338-CD6E3E913EA2}" destId="{BB01AB30-A854-42C3-A7FE-1994F9C89226}" srcOrd="1" destOrd="0" presId="urn:microsoft.com/office/officeart/2005/8/layout/vList4"/>
    <dgm:cxn modelId="{8ADBC441-81EC-46DB-9580-736F82862E38}" type="presParOf" srcId="{25B81E3B-7D49-4ED9-B338-CD6E3E913EA2}" destId="{808C2754-2E66-4DED-ACBF-7D655E060851}" srcOrd="2" destOrd="0" presId="urn:microsoft.com/office/officeart/2005/8/layout/vList4"/>
    <dgm:cxn modelId="{00601E47-88A3-4C06-85BF-6828762159B9}" type="presParOf" srcId="{808C2754-2E66-4DED-ACBF-7D655E060851}" destId="{E93DB70B-BD20-4FC6-B27B-E191E61EBBCD}" srcOrd="0" destOrd="0" presId="urn:microsoft.com/office/officeart/2005/8/layout/vList4"/>
    <dgm:cxn modelId="{F2B717EE-5A96-4E2D-866D-D23493553923}" type="presParOf" srcId="{808C2754-2E66-4DED-ACBF-7D655E060851}" destId="{DEB1B640-822F-4546-9409-420C8FC618DC}" srcOrd="1" destOrd="0" presId="urn:microsoft.com/office/officeart/2005/8/layout/vList4"/>
    <dgm:cxn modelId="{699317E2-3AFE-4E21-AC34-A1DB69961C22}" type="presParOf" srcId="{808C2754-2E66-4DED-ACBF-7D655E060851}" destId="{38AF01DD-9570-4E28-A694-4B094462B166}" srcOrd="2" destOrd="0" presId="urn:microsoft.com/office/officeart/2005/8/layout/vList4"/>
    <dgm:cxn modelId="{985B86C9-8002-4916-8BFF-F629E42918D8}" type="presParOf" srcId="{25B81E3B-7D49-4ED9-B338-CD6E3E913EA2}" destId="{85524462-A82A-4FFD-A89B-DBE07C7AFEC8}" srcOrd="3" destOrd="0" presId="urn:microsoft.com/office/officeart/2005/8/layout/vList4"/>
    <dgm:cxn modelId="{01FE8C2B-36B6-4C66-AFC6-E67A9FE56A93}" type="presParOf" srcId="{25B81E3B-7D49-4ED9-B338-CD6E3E913EA2}" destId="{D800621C-26A3-4C0A-935E-8DAE97477A7E}" srcOrd="4" destOrd="0" presId="urn:microsoft.com/office/officeart/2005/8/layout/vList4"/>
    <dgm:cxn modelId="{3B53B67B-4EDD-4AB7-93C9-6889E080BE58}" type="presParOf" srcId="{D800621C-26A3-4C0A-935E-8DAE97477A7E}" destId="{9C41A9CA-A631-41D8-B4A3-18ED3FC10BF1}" srcOrd="0" destOrd="0" presId="urn:microsoft.com/office/officeart/2005/8/layout/vList4"/>
    <dgm:cxn modelId="{98DD0162-A47A-4887-A22F-B90A9FB6A829}" type="presParOf" srcId="{D800621C-26A3-4C0A-935E-8DAE97477A7E}" destId="{7D06A33C-E83D-48DE-B74A-FFEF4E64320A}" srcOrd="1" destOrd="0" presId="urn:microsoft.com/office/officeart/2005/8/layout/vList4"/>
    <dgm:cxn modelId="{8B9A8992-227A-4ACB-9B22-82331F93B648}" type="presParOf" srcId="{D800621C-26A3-4C0A-935E-8DAE97477A7E}" destId="{7477E8DA-90EC-40CE-BE12-95B32485125E}" srcOrd="2" destOrd="0" presId="urn:microsoft.com/office/officeart/2005/8/layout/vList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8BA112C1-CD0D-4118-9046-1669F1DCDB57}" type="doc">
      <dgm:prSet loTypeId="urn:microsoft.com/office/officeart/2005/8/layout/vList4" loCatId="picture" qsTypeId="urn:microsoft.com/office/officeart/2005/8/quickstyle/simple1" qsCatId="simple" csTypeId="urn:microsoft.com/office/officeart/2005/8/colors/accent1_2" csCatId="accent1" phldr="1"/>
      <dgm:spPr/>
      <dgm:t>
        <a:bodyPr/>
        <a:lstStyle/>
        <a:p>
          <a:endParaRPr lang="en-US"/>
        </a:p>
      </dgm:t>
    </dgm:pt>
    <dgm:pt modelId="{67B9C4AF-C475-4026-B095-D96191E0C81B}">
      <dgm:prSet phldrT="[Text]" custT="1"/>
      <dgm:spPr/>
      <dgm:t>
        <a:bodyPr/>
        <a:lstStyle/>
        <a:p>
          <a:r>
            <a:rPr lang="en-US" sz="3200" dirty="0"/>
            <a:t>Frontline </a:t>
          </a:r>
        </a:p>
        <a:p>
          <a:r>
            <a:rPr lang="en-US" sz="2000" dirty="0"/>
            <a:t>February 2022</a:t>
          </a:r>
        </a:p>
      </dgm:t>
    </dgm:pt>
    <dgm:pt modelId="{996D36ED-8E29-472C-B6F4-4890FB05FDF9}" type="parTrans" cxnId="{BB9F0A5E-7905-4471-83C0-FFA44AECD0C8}">
      <dgm:prSet/>
      <dgm:spPr/>
      <dgm:t>
        <a:bodyPr/>
        <a:lstStyle/>
        <a:p>
          <a:endParaRPr lang="en-US"/>
        </a:p>
      </dgm:t>
    </dgm:pt>
    <dgm:pt modelId="{B377AD47-1AB0-43E3-B816-458D9EF8E31E}" type="sibTrans" cxnId="{BB9F0A5E-7905-4471-83C0-FFA44AECD0C8}">
      <dgm:prSet/>
      <dgm:spPr/>
      <dgm:t>
        <a:bodyPr/>
        <a:lstStyle/>
        <a:p>
          <a:endParaRPr lang="en-US"/>
        </a:p>
      </dgm:t>
    </dgm:pt>
    <dgm:pt modelId="{ADE69334-29DD-4540-84A7-131B985FFDA4}">
      <dgm:prSet phldrT="[Text]" custT="1"/>
      <dgm:spPr/>
      <dgm:t>
        <a:bodyPr/>
        <a:lstStyle/>
        <a:p>
          <a:r>
            <a:rPr lang="en-US" sz="3200" dirty="0"/>
            <a:t>Tyler Technologies </a:t>
          </a:r>
        </a:p>
        <a:p>
          <a:r>
            <a:rPr lang="en-US" sz="2000" dirty="0"/>
            <a:t>February 2022</a:t>
          </a:r>
        </a:p>
      </dgm:t>
    </dgm:pt>
    <dgm:pt modelId="{349EC5E4-B30F-428D-A76C-F0092714194E}" type="parTrans" cxnId="{5AB9C2DC-D784-45DD-945C-DBB1E8C71036}">
      <dgm:prSet/>
      <dgm:spPr/>
      <dgm:t>
        <a:bodyPr/>
        <a:lstStyle/>
        <a:p>
          <a:endParaRPr lang="en-US"/>
        </a:p>
      </dgm:t>
    </dgm:pt>
    <dgm:pt modelId="{ADE284CD-A77E-40D3-B3FB-C0DEA178EA0A}" type="sibTrans" cxnId="{5AB9C2DC-D784-45DD-945C-DBB1E8C71036}">
      <dgm:prSet/>
      <dgm:spPr/>
      <dgm:t>
        <a:bodyPr/>
        <a:lstStyle/>
        <a:p>
          <a:endParaRPr lang="en-US"/>
        </a:p>
      </dgm:t>
    </dgm:pt>
    <dgm:pt modelId="{F2B96DC8-B489-4DA4-BE91-AB23C3F55BD9}">
      <dgm:prSet phldrT="[Text]" custT="1"/>
      <dgm:spPr/>
      <dgm:t>
        <a:bodyPr/>
        <a:lstStyle/>
        <a:p>
          <a:r>
            <a:rPr lang="en-US" sz="3200" dirty="0"/>
            <a:t>Ascender</a:t>
          </a:r>
        </a:p>
        <a:p>
          <a:r>
            <a:rPr lang="en-US" sz="2000" dirty="0"/>
            <a:t>November 2021</a:t>
          </a:r>
        </a:p>
      </dgm:t>
    </dgm:pt>
    <dgm:pt modelId="{AAF5E9BF-BAFA-40F3-A0B3-15A3098F46FD}" type="sibTrans" cxnId="{F7BB85AF-0DE6-438F-B8DF-D65B1DA79D10}">
      <dgm:prSet/>
      <dgm:spPr/>
      <dgm:t>
        <a:bodyPr/>
        <a:lstStyle/>
        <a:p>
          <a:endParaRPr lang="en-US"/>
        </a:p>
      </dgm:t>
    </dgm:pt>
    <dgm:pt modelId="{FCBD3D62-3AD2-413E-90CF-E5927BECC476}" type="parTrans" cxnId="{F7BB85AF-0DE6-438F-B8DF-D65B1DA79D10}">
      <dgm:prSet/>
      <dgm:spPr/>
      <dgm:t>
        <a:bodyPr/>
        <a:lstStyle/>
        <a:p>
          <a:endParaRPr lang="en-US"/>
        </a:p>
      </dgm:t>
    </dgm:pt>
    <dgm:pt modelId="{25B81E3B-7D49-4ED9-B338-CD6E3E913EA2}" type="pres">
      <dgm:prSet presAssocID="{8BA112C1-CD0D-4118-9046-1669F1DCDB57}" presName="linear" presStyleCnt="0">
        <dgm:presLayoutVars>
          <dgm:dir/>
          <dgm:resizeHandles val="exact"/>
        </dgm:presLayoutVars>
      </dgm:prSet>
      <dgm:spPr/>
    </dgm:pt>
    <dgm:pt modelId="{8F138207-DA95-41D1-B10C-97453CF3786E}" type="pres">
      <dgm:prSet presAssocID="{F2B96DC8-B489-4DA4-BE91-AB23C3F55BD9}" presName="comp" presStyleCnt="0"/>
      <dgm:spPr/>
    </dgm:pt>
    <dgm:pt modelId="{CC109C5F-8810-49F2-9223-E6626383CC20}" type="pres">
      <dgm:prSet presAssocID="{F2B96DC8-B489-4DA4-BE91-AB23C3F55BD9}" presName="box" presStyleLbl="node1" presStyleIdx="0" presStyleCnt="3"/>
      <dgm:spPr/>
    </dgm:pt>
    <dgm:pt modelId="{74DA1E13-B319-46EF-8E75-AF4EEE1DD1B2}" type="pres">
      <dgm:prSet presAssocID="{F2B96DC8-B489-4DA4-BE91-AB23C3F55BD9}"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13000" r="-13000"/>
          </a:stretch>
        </a:blipFill>
      </dgm:spPr>
    </dgm:pt>
    <dgm:pt modelId="{17FB77BB-083E-46F7-8180-520554D37A96}" type="pres">
      <dgm:prSet presAssocID="{F2B96DC8-B489-4DA4-BE91-AB23C3F55BD9}" presName="text" presStyleLbl="node1" presStyleIdx="0" presStyleCnt="3">
        <dgm:presLayoutVars>
          <dgm:bulletEnabled val="1"/>
        </dgm:presLayoutVars>
      </dgm:prSet>
      <dgm:spPr/>
    </dgm:pt>
    <dgm:pt modelId="{BB01AB30-A854-42C3-A7FE-1994F9C89226}" type="pres">
      <dgm:prSet presAssocID="{AAF5E9BF-BAFA-40F3-A0B3-15A3098F46FD}" presName="spacer" presStyleCnt="0"/>
      <dgm:spPr/>
    </dgm:pt>
    <dgm:pt modelId="{808C2754-2E66-4DED-ACBF-7D655E060851}" type="pres">
      <dgm:prSet presAssocID="{67B9C4AF-C475-4026-B095-D96191E0C81B}" presName="comp" presStyleCnt="0"/>
      <dgm:spPr/>
    </dgm:pt>
    <dgm:pt modelId="{E93DB70B-BD20-4FC6-B27B-E191E61EBBCD}" type="pres">
      <dgm:prSet presAssocID="{67B9C4AF-C475-4026-B095-D96191E0C81B}" presName="box" presStyleLbl="node1" presStyleIdx="1" presStyleCnt="3"/>
      <dgm:spPr/>
    </dgm:pt>
    <dgm:pt modelId="{DEB1B640-822F-4546-9409-420C8FC618DC}" type="pres">
      <dgm:prSet presAssocID="{67B9C4AF-C475-4026-B095-D96191E0C81B}"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dgm:spPr>
    </dgm:pt>
    <dgm:pt modelId="{38AF01DD-9570-4E28-A694-4B094462B166}" type="pres">
      <dgm:prSet presAssocID="{67B9C4AF-C475-4026-B095-D96191E0C81B}" presName="text" presStyleLbl="node1" presStyleIdx="1" presStyleCnt="3">
        <dgm:presLayoutVars>
          <dgm:bulletEnabled val="1"/>
        </dgm:presLayoutVars>
      </dgm:prSet>
      <dgm:spPr/>
    </dgm:pt>
    <dgm:pt modelId="{85524462-A82A-4FFD-A89B-DBE07C7AFEC8}" type="pres">
      <dgm:prSet presAssocID="{B377AD47-1AB0-43E3-B816-458D9EF8E31E}" presName="spacer" presStyleCnt="0"/>
      <dgm:spPr/>
    </dgm:pt>
    <dgm:pt modelId="{D800621C-26A3-4C0A-935E-8DAE97477A7E}" type="pres">
      <dgm:prSet presAssocID="{ADE69334-29DD-4540-84A7-131B985FFDA4}" presName="comp" presStyleCnt="0"/>
      <dgm:spPr/>
    </dgm:pt>
    <dgm:pt modelId="{9C41A9CA-A631-41D8-B4A3-18ED3FC10BF1}" type="pres">
      <dgm:prSet presAssocID="{ADE69334-29DD-4540-84A7-131B985FFDA4}" presName="box" presStyleLbl="node1" presStyleIdx="2" presStyleCnt="3"/>
      <dgm:spPr/>
    </dgm:pt>
    <dgm:pt modelId="{7D06A33C-E83D-48DE-B74A-FFEF4E64320A}" type="pres">
      <dgm:prSet presAssocID="{ADE69334-29DD-4540-84A7-131B985FFDA4}"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dgm:spPr>
    </dgm:pt>
    <dgm:pt modelId="{7477E8DA-90EC-40CE-BE12-95B32485125E}" type="pres">
      <dgm:prSet presAssocID="{ADE69334-29DD-4540-84A7-131B985FFDA4}" presName="text" presStyleLbl="node1" presStyleIdx="2" presStyleCnt="3">
        <dgm:presLayoutVars>
          <dgm:bulletEnabled val="1"/>
        </dgm:presLayoutVars>
      </dgm:prSet>
      <dgm:spPr/>
    </dgm:pt>
  </dgm:ptLst>
  <dgm:cxnLst>
    <dgm:cxn modelId="{35F5F601-F1C4-46B0-BD0A-7DE29E00764D}" type="presOf" srcId="{F2B96DC8-B489-4DA4-BE91-AB23C3F55BD9}" destId="{CC109C5F-8810-49F2-9223-E6626383CC20}" srcOrd="0" destOrd="0" presId="urn:microsoft.com/office/officeart/2005/8/layout/vList4"/>
    <dgm:cxn modelId="{C61E1217-F265-4423-B5FF-FB9BD17BB79A}" type="presOf" srcId="{8BA112C1-CD0D-4118-9046-1669F1DCDB57}" destId="{25B81E3B-7D49-4ED9-B338-CD6E3E913EA2}" srcOrd="0" destOrd="0" presId="urn:microsoft.com/office/officeart/2005/8/layout/vList4"/>
    <dgm:cxn modelId="{BB9F0A5E-7905-4471-83C0-FFA44AECD0C8}" srcId="{8BA112C1-CD0D-4118-9046-1669F1DCDB57}" destId="{67B9C4AF-C475-4026-B095-D96191E0C81B}" srcOrd="1" destOrd="0" parTransId="{996D36ED-8E29-472C-B6F4-4890FB05FDF9}" sibTransId="{B377AD47-1AB0-43E3-B816-458D9EF8E31E}"/>
    <dgm:cxn modelId="{9F3E7B4B-5FBE-4E37-9386-A748FEAD348C}" type="presOf" srcId="{ADE69334-29DD-4540-84A7-131B985FFDA4}" destId="{7477E8DA-90EC-40CE-BE12-95B32485125E}" srcOrd="1" destOrd="0" presId="urn:microsoft.com/office/officeart/2005/8/layout/vList4"/>
    <dgm:cxn modelId="{1AA1486F-B58A-4FCF-BE98-753395D9F5D4}" type="presOf" srcId="{ADE69334-29DD-4540-84A7-131B985FFDA4}" destId="{9C41A9CA-A631-41D8-B4A3-18ED3FC10BF1}" srcOrd="0" destOrd="0" presId="urn:microsoft.com/office/officeart/2005/8/layout/vList4"/>
    <dgm:cxn modelId="{247ACB9C-FDFA-4789-ACBB-064CD97C599B}" type="presOf" srcId="{F2B96DC8-B489-4DA4-BE91-AB23C3F55BD9}" destId="{17FB77BB-083E-46F7-8180-520554D37A96}" srcOrd="1" destOrd="0" presId="urn:microsoft.com/office/officeart/2005/8/layout/vList4"/>
    <dgm:cxn modelId="{973629A9-23E9-45C6-A39B-529F72FE8F73}" type="presOf" srcId="{67B9C4AF-C475-4026-B095-D96191E0C81B}" destId="{E93DB70B-BD20-4FC6-B27B-E191E61EBBCD}" srcOrd="0" destOrd="0" presId="urn:microsoft.com/office/officeart/2005/8/layout/vList4"/>
    <dgm:cxn modelId="{F7BB85AF-0DE6-438F-B8DF-D65B1DA79D10}" srcId="{8BA112C1-CD0D-4118-9046-1669F1DCDB57}" destId="{F2B96DC8-B489-4DA4-BE91-AB23C3F55BD9}" srcOrd="0" destOrd="0" parTransId="{FCBD3D62-3AD2-413E-90CF-E5927BECC476}" sibTransId="{AAF5E9BF-BAFA-40F3-A0B3-15A3098F46FD}"/>
    <dgm:cxn modelId="{C86F96BC-8105-46AE-8626-BA6BA0794FC0}" type="presOf" srcId="{67B9C4AF-C475-4026-B095-D96191E0C81B}" destId="{38AF01DD-9570-4E28-A694-4B094462B166}" srcOrd="1" destOrd="0" presId="urn:microsoft.com/office/officeart/2005/8/layout/vList4"/>
    <dgm:cxn modelId="{5AB9C2DC-D784-45DD-945C-DBB1E8C71036}" srcId="{8BA112C1-CD0D-4118-9046-1669F1DCDB57}" destId="{ADE69334-29DD-4540-84A7-131B985FFDA4}" srcOrd="2" destOrd="0" parTransId="{349EC5E4-B30F-428D-A76C-F0092714194E}" sibTransId="{ADE284CD-A77E-40D3-B3FB-C0DEA178EA0A}"/>
    <dgm:cxn modelId="{E1E9C2EB-A79B-4C6F-B61D-52A6FEE9D04D}" type="presParOf" srcId="{25B81E3B-7D49-4ED9-B338-CD6E3E913EA2}" destId="{8F138207-DA95-41D1-B10C-97453CF3786E}" srcOrd="0" destOrd="0" presId="urn:microsoft.com/office/officeart/2005/8/layout/vList4"/>
    <dgm:cxn modelId="{0DD14CAB-5E4D-4A36-8AAE-87C9056F6003}" type="presParOf" srcId="{8F138207-DA95-41D1-B10C-97453CF3786E}" destId="{CC109C5F-8810-49F2-9223-E6626383CC20}" srcOrd="0" destOrd="0" presId="urn:microsoft.com/office/officeart/2005/8/layout/vList4"/>
    <dgm:cxn modelId="{A0851FB6-34BC-49D2-A679-B5AC3DD2AB7E}" type="presParOf" srcId="{8F138207-DA95-41D1-B10C-97453CF3786E}" destId="{74DA1E13-B319-46EF-8E75-AF4EEE1DD1B2}" srcOrd="1" destOrd="0" presId="urn:microsoft.com/office/officeart/2005/8/layout/vList4"/>
    <dgm:cxn modelId="{09D14004-F4B5-4C24-A7F0-6C5335A48D22}" type="presParOf" srcId="{8F138207-DA95-41D1-B10C-97453CF3786E}" destId="{17FB77BB-083E-46F7-8180-520554D37A96}" srcOrd="2" destOrd="0" presId="urn:microsoft.com/office/officeart/2005/8/layout/vList4"/>
    <dgm:cxn modelId="{002ACCF0-A8BC-4FAB-BFE9-44CA666C017A}" type="presParOf" srcId="{25B81E3B-7D49-4ED9-B338-CD6E3E913EA2}" destId="{BB01AB30-A854-42C3-A7FE-1994F9C89226}" srcOrd="1" destOrd="0" presId="urn:microsoft.com/office/officeart/2005/8/layout/vList4"/>
    <dgm:cxn modelId="{8ADBC441-81EC-46DB-9580-736F82862E38}" type="presParOf" srcId="{25B81E3B-7D49-4ED9-B338-CD6E3E913EA2}" destId="{808C2754-2E66-4DED-ACBF-7D655E060851}" srcOrd="2" destOrd="0" presId="urn:microsoft.com/office/officeart/2005/8/layout/vList4"/>
    <dgm:cxn modelId="{00601E47-88A3-4C06-85BF-6828762159B9}" type="presParOf" srcId="{808C2754-2E66-4DED-ACBF-7D655E060851}" destId="{E93DB70B-BD20-4FC6-B27B-E191E61EBBCD}" srcOrd="0" destOrd="0" presId="urn:microsoft.com/office/officeart/2005/8/layout/vList4"/>
    <dgm:cxn modelId="{F2B717EE-5A96-4E2D-866D-D23493553923}" type="presParOf" srcId="{808C2754-2E66-4DED-ACBF-7D655E060851}" destId="{DEB1B640-822F-4546-9409-420C8FC618DC}" srcOrd="1" destOrd="0" presId="urn:microsoft.com/office/officeart/2005/8/layout/vList4"/>
    <dgm:cxn modelId="{699317E2-3AFE-4E21-AC34-A1DB69961C22}" type="presParOf" srcId="{808C2754-2E66-4DED-ACBF-7D655E060851}" destId="{38AF01DD-9570-4E28-A694-4B094462B166}" srcOrd="2" destOrd="0" presId="urn:microsoft.com/office/officeart/2005/8/layout/vList4"/>
    <dgm:cxn modelId="{985B86C9-8002-4916-8BFF-F629E42918D8}" type="presParOf" srcId="{25B81E3B-7D49-4ED9-B338-CD6E3E913EA2}" destId="{85524462-A82A-4FFD-A89B-DBE07C7AFEC8}" srcOrd="3" destOrd="0" presId="urn:microsoft.com/office/officeart/2005/8/layout/vList4"/>
    <dgm:cxn modelId="{01FE8C2B-36B6-4C66-AFC6-E67A9FE56A93}" type="presParOf" srcId="{25B81E3B-7D49-4ED9-B338-CD6E3E913EA2}" destId="{D800621C-26A3-4C0A-935E-8DAE97477A7E}" srcOrd="4" destOrd="0" presId="urn:microsoft.com/office/officeart/2005/8/layout/vList4"/>
    <dgm:cxn modelId="{3B53B67B-4EDD-4AB7-93C9-6889E080BE58}" type="presParOf" srcId="{D800621C-26A3-4C0A-935E-8DAE97477A7E}" destId="{9C41A9CA-A631-41D8-B4A3-18ED3FC10BF1}" srcOrd="0" destOrd="0" presId="urn:microsoft.com/office/officeart/2005/8/layout/vList4"/>
    <dgm:cxn modelId="{98DD0162-A47A-4887-A22F-B90A9FB6A829}" type="presParOf" srcId="{D800621C-26A3-4C0A-935E-8DAE97477A7E}" destId="{7D06A33C-E83D-48DE-B74A-FFEF4E64320A}" srcOrd="1" destOrd="0" presId="urn:microsoft.com/office/officeart/2005/8/layout/vList4"/>
    <dgm:cxn modelId="{8B9A8992-227A-4ACB-9B22-82331F93B648}" type="presParOf" srcId="{D800621C-26A3-4C0A-935E-8DAE97477A7E}" destId="{7477E8DA-90EC-40CE-BE12-95B32485125E}" srcOrd="2" destOrd="0" presId="urn:microsoft.com/office/officeart/2005/8/layout/vList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A613775-DB49-4F36-89C3-58B6ABD103FB}" type="doc">
      <dgm:prSet loTypeId="urn:microsoft.com/office/officeart/2011/layout/TabList" loCatId="list" qsTypeId="urn:microsoft.com/office/officeart/2005/8/quickstyle/simple1" qsCatId="simple" csTypeId="urn:microsoft.com/office/officeart/2005/8/colors/accent6_3" csCatId="accent6" phldr="1"/>
      <dgm:spPr/>
      <dgm:t>
        <a:bodyPr/>
        <a:lstStyle/>
        <a:p>
          <a:endParaRPr lang="en-US"/>
        </a:p>
      </dgm:t>
    </dgm:pt>
    <dgm:pt modelId="{7FCD229B-89F7-47AA-AD0B-6EF8697CA0A2}">
      <dgm:prSet phldrT="[Text]"/>
      <dgm:spPr/>
      <dgm:t>
        <a:bodyPr/>
        <a:lstStyle/>
        <a:p>
          <a:r>
            <a:rPr lang="en-US" dirty="0"/>
            <a:t>May 25, 2021</a:t>
          </a:r>
        </a:p>
      </dgm:t>
    </dgm:pt>
    <dgm:pt modelId="{986E28C5-3654-4CBD-8045-AADD73EE2269}" type="parTrans" cxnId="{88B3EA0A-6332-4FA1-943B-EC1A8B0576AE}">
      <dgm:prSet/>
      <dgm:spPr/>
      <dgm:t>
        <a:bodyPr/>
        <a:lstStyle/>
        <a:p>
          <a:endParaRPr lang="en-US"/>
        </a:p>
      </dgm:t>
    </dgm:pt>
    <dgm:pt modelId="{8EA9F52F-AA5B-40BD-A177-FB3C1FF5BCB0}" type="sibTrans" cxnId="{88B3EA0A-6332-4FA1-943B-EC1A8B0576AE}">
      <dgm:prSet/>
      <dgm:spPr/>
      <dgm:t>
        <a:bodyPr/>
        <a:lstStyle/>
        <a:p>
          <a:endParaRPr lang="en-US"/>
        </a:p>
      </dgm:t>
    </dgm:pt>
    <dgm:pt modelId="{64013F17-8051-454C-8495-339ED386C122}">
      <dgm:prSet phldrT="[Text]"/>
      <dgm:spPr/>
      <dgm:t>
        <a:bodyPr/>
        <a:lstStyle/>
        <a:p>
          <a:r>
            <a:rPr lang="en-US" dirty="0"/>
            <a:t>June 1, 2021</a:t>
          </a:r>
        </a:p>
      </dgm:t>
    </dgm:pt>
    <dgm:pt modelId="{D05BC7AA-165D-4465-B1E5-C08D183F4CE5}" type="parTrans" cxnId="{CD87D0D0-FBDA-4A28-BCB9-5CEA16DF3E8A}">
      <dgm:prSet/>
      <dgm:spPr/>
      <dgm:t>
        <a:bodyPr/>
        <a:lstStyle/>
        <a:p>
          <a:endParaRPr lang="en-US"/>
        </a:p>
      </dgm:t>
    </dgm:pt>
    <dgm:pt modelId="{9B676383-B14C-40A3-8F96-550C101A2E46}" type="sibTrans" cxnId="{CD87D0D0-FBDA-4A28-BCB9-5CEA16DF3E8A}">
      <dgm:prSet/>
      <dgm:spPr/>
      <dgm:t>
        <a:bodyPr/>
        <a:lstStyle/>
        <a:p>
          <a:endParaRPr lang="en-US"/>
        </a:p>
      </dgm:t>
    </dgm:pt>
    <dgm:pt modelId="{DA016258-36EC-4AA9-A5F4-DC8892DFAC98}">
      <dgm:prSet phldrT="[Text]"/>
      <dgm:spPr/>
      <dgm:t>
        <a:bodyPr/>
        <a:lstStyle/>
        <a:p>
          <a:r>
            <a:rPr lang="en-US" dirty="0"/>
            <a:t>Ed-Fi Certification</a:t>
          </a:r>
        </a:p>
      </dgm:t>
    </dgm:pt>
    <dgm:pt modelId="{9AB980C8-056C-4340-9A6E-1A9313E0105F}" type="parTrans" cxnId="{9C1D46FA-260B-4AEC-A9CE-9E472D2ABF8A}">
      <dgm:prSet/>
      <dgm:spPr/>
      <dgm:t>
        <a:bodyPr/>
        <a:lstStyle/>
        <a:p>
          <a:endParaRPr lang="en-US"/>
        </a:p>
      </dgm:t>
    </dgm:pt>
    <dgm:pt modelId="{F6555F82-3EAB-4962-A054-9C61E6BEE26D}" type="sibTrans" cxnId="{9C1D46FA-260B-4AEC-A9CE-9E472D2ABF8A}">
      <dgm:prSet/>
      <dgm:spPr/>
      <dgm:t>
        <a:bodyPr/>
        <a:lstStyle/>
        <a:p>
          <a:endParaRPr lang="en-US"/>
        </a:p>
      </dgm:t>
    </dgm:pt>
    <dgm:pt modelId="{01C49D73-E83D-4262-B427-2C73D642F4A1}">
      <dgm:prSet phldrT="[Text]"/>
      <dgm:spPr/>
      <dgm:t>
        <a:bodyPr/>
        <a:lstStyle/>
        <a:p>
          <a:r>
            <a:rPr lang="en-US" dirty="0"/>
            <a:t>August 30, 2021</a:t>
          </a:r>
        </a:p>
      </dgm:t>
    </dgm:pt>
    <dgm:pt modelId="{835B0A60-3648-4BA7-8549-D335A6613440}" type="parTrans" cxnId="{4E23F2A4-7F25-482E-85C2-A5DA73F7746E}">
      <dgm:prSet/>
      <dgm:spPr/>
      <dgm:t>
        <a:bodyPr/>
        <a:lstStyle/>
        <a:p>
          <a:endParaRPr lang="en-US"/>
        </a:p>
      </dgm:t>
    </dgm:pt>
    <dgm:pt modelId="{85CFA6BE-F155-4A32-8BF9-B8BC521398AD}" type="sibTrans" cxnId="{4E23F2A4-7F25-482E-85C2-A5DA73F7746E}">
      <dgm:prSet/>
      <dgm:spPr/>
      <dgm:t>
        <a:bodyPr/>
        <a:lstStyle/>
        <a:p>
          <a:endParaRPr lang="en-US"/>
        </a:p>
      </dgm:t>
    </dgm:pt>
    <dgm:pt modelId="{A86047C0-74DD-4500-901C-C6845109756C}">
      <dgm:prSet phldrT="[Text]"/>
      <dgm:spPr/>
      <dgm:t>
        <a:bodyPr/>
        <a:lstStyle/>
        <a:p>
          <a:r>
            <a:rPr lang="en-US" dirty="0"/>
            <a:t>September 29, 2021</a:t>
          </a:r>
        </a:p>
      </dgm:t>
    </dgm:pt>
    <dgm:pt modelId="{3AEA1591-5D79-4B7A-987B-A0C6F42F151F}" type="parTrans" cxnId="{E542228D-575B-4ACE-9AA2-88A3A567DF67}">
      <dgm:prSet/>
      <dgm:spPr/>
      <dgm:t>
        <a:bodyPr/>
        <a:lstStyle/>
        <a:p>
          <a:endParaRPr lang="en-US"/>
        </a:p>
      </dgm:t>
    </dgm:pt>
    <dgm:pt modelId="{0FB0B20B-9ACC-4C14-8DBB-5CAB24C0BB62}" type="sibTrans" cxnId="{E542228D-575B-4ACE-9AA2-88A3A567DF67}">
      <dgm:prSet/>
      <dgm:spPr/>
      <dgm:t>
        <a:bodyPr/>
        <a:lstStyle/>
        <a:p>
          <a:endParaRPr lang="en-US"/>
        </a:p>
      </dgm:t>
    </dgm:pt>
    <dgm:pt modelId="{51C1EFAD-4930-4AA1-A52D-F822C67EA8F6}">
      <dgm:prSet phldrT="[Text]"/>
      <dgm:spPr/>
      <dgm:t>
        <a:bodyPr/>
        <a:lstStyle/>
        <a:p>
          <a:r>
            <a:rPr lang="en-US" dirty="0"/>
            <a:t>February 7, 2022</a:t>
          </a:r>
        </a:p>
      </dgm:t>
    </dgm:pt>
    <dgm:pt modelId="{CC9DC8CD-EE3B-4022-8B09-04EE23C7B593}" type="parTrans" cxnId="{DCB6978C-2463-4323-BCB3-4C23805B192B}">
      <dgm:prSet/>
      <dgm:spPr/>
      <dgm:t>
        <a:bodyPr/>
        <a:lstStyle/>
        <a:p>
          <a:endParaRPr lang="en-US"/>
        </a:p>
      </dgm:t>
    </dgm:pt>
    <dgm:pt modelId="{1274B93A-F539-4D40-9B4C-88404660F2E0}" type="sibTrans" cxnId="{DCB6978C-2463-4323-BCB3-4C23805B192B}">
      <dgm:prSet/>
      <dgm:spPr/>
      <dgm:t>
        <a:bodyPr/>
        <a:lstStyle/>
        <a:p>
          <a:endParaRPr lang="en-US"/>
        </a:p>
      </dgm:t>
    </dgm:pt>
    <dgm:pt modelId="{12D1A4E0-3B78-4B92-9BB2-3CD58DFF5C69}">
      <dgm:prSet phldrT="[Text]"/>
      <dgm:spPr/>
      <dgm:t>
        <a:bodyPr/>
        <a:lstStyle/>
        <a:p>
          <a:r>
            <a:rPr lang="en-US" dirty="0"/>
            <a:t>Pilot Vendor Cohort</a:t>
          </a:r>
        </a:p>
      </dgm:t>
    </dgm:pt>
    <dgm:pt modelId="{2FDA0878-9C34-458F-B0F3-7B18CB62D641}" type="parTrans" cxnId="{5C636010-9456-4E45-8464-8C2606D1C0C5}">
      <dgm:prSet/>
      <dgm:spPr/>
      <dgm:t>
        <a:bodyPr/>
        <a:lstStyle/>
        <a:p>
          <a:endParaRPr lang="en-US"/>
        </a:p>
      </dgm:t>
    </dgm:pt>
    <dgm:pt modelId="{7ADEF026-166C-44F1-AB4D-D637F68F626D}" type="sibTrans" cxnId="{5C636010-9456-4E45-8464-8C2606D1C0C5}">
      <dgm:prSet/>
      <dgm:spPr/>
      <dgm:t>
        <a:bodyPr/>
        <a:lstStyle/>
        <a:p>
          <a:endParaRPr lang="en-US"/>
        </a:p>
      </dgm:t>
    </dgm:pt>
    <dgm:pt modelId="{633A5F03-BB7F-4359-B531-F1E99862CD03}">
      <dgm:prSet phldrT="[Text]"/>
      <dgm:spPr/>
      <dgm:t>
        <a:bodyPr/>
        <a:lstStyle/>
        <a:p>
          <a:r>
            <a:rPr lang="en-US" dirty="0"/>
            <a:t>Project Kickoff</a:t>
          </a:r>
        </a:p>
      </dgm:t>
    </dgm:pt>
    <dgm:pt modelId="{BCA0291F-62E6-4289-8399-8B58764C7805}" type="parTrans" cxnId="{EE5769FB-2A6E-4B37-BA7A-8B9B46C67F2D}">
      <dgm:prSet/>
      <dgm:spPr/>
      <dgm:t>
        <a:bodyPr/>
        <a:lstStyle/>
        <a:p>
          <a:endParaRPr lang="en-US"/>
        </a:p>
      </dgm:t>
    </dgm:pt>
    <dgm:pt modelId="{DF519FC4-9413-45F2-99BF-FA227BBE67FF}" type="sibTrans" cxnId="{EE5769FB-2A6E-4B37-BA7A-8B9B46C67F2D}">
      <dgm:prSet/>
      <dgm:spPr/>
      <dgm:t>
        <a:bodyPr/>
        <a:lstStyle/>
        <a:p>
          <a:endParaRPr lang="en-US"/>
        </a:p>
      </dgm:t>
    </dgm:pt>
    <dgm:pt modelId="{0CB5EB88-70A0-4616-AD90-23274DB93028}">
      <dgm:prSet phldrT="[Text]"/>
      <dgm:spPr/>
      <dgm:t>
        <a:bodyPr/>
        <a:lstStyle/>
        <a:p>
          <a:r>
            <a:rPr lang="en-US" dirty="0"/>
            <a:t>Architecture and Design</a:t>
          </a:r>
        </a:p>
      </dgm:t>
    </dgm:pt>
    <dgm:pt modelId="{6DD4977C-4D0F-4481-A898-204AE336DA83}" type="parTrans" cxnId="{31D50EBB-1C46-4EAC-BB93-F4D4EB787033}">
      <dgm:prSet/>
      <dgm:spPr/>
      <dgm:t>
        <a:bodyPr/>
        <a:lstStyle/>
        <a:p>
          <a:endParaRPr lang="en-US"/>
        </a:p>
      </dgm:t>
    </dgm:pt>
    <dgm:pt modelId="{0407E943-EF66-4492-B92D-6BEFF0DFCE16}" type="sibTrans" cxnId="{31D50EBB-1C46-4EAC-BB93-F4D4EB787033}">
      <dgm:prSet/>
      <dgm:spPr/>
      <dgm:t>
        <a:bodyPr/>
        <a:lstStyle/>
        <a:p>
          <a:endParaRPr lang="en-US"/>
        </a:p>
      </dgm:t>
    </dgm:pt>
    <dgm:pt modelId="{843013CC-5B18-4D41-AEEE-BC37DBA66150}">
      <dgm:prSet phldrT="[Text]"/>
      <dgm:spPr/>
      <dgm:t>
        <a:bodyPr/>
        <a:lstStyle/>
        <a:p>
          <a:r>
            <a:rPr lang="en-US" dirty="0"/>
            <a:t>Texas Education Data Standards</a:t>
          </a:r>
        </a:p>
      </dgm:t>
    </dgm:pt>
    <dgm:pt modelId="{AA835410-750A-451A-8DC1-6F3ED0E73C0F}" type="parTrans" cxnId="{91874EC8-80F6-4AEF-ACA9-51737C53432D}">
      <dgm:prSet/>
      <dgm:spPr/>
      <dgm:t>
        <a:bodyPr/>
        <a:lstStyle/>
        <a:p>
          <a:endParaRPr lang="en-US"/>
        </a:p>
      </dgm:t>
    </dgm:pt>
    <dgm:pt modelId="{F248BCD3-677A-4BFE-80E3-5EBFB4B27DBF}" type="sibTrans" cxnId="{91874EC8-80F6-4AEF-ACA9-51737C53432D}">
      <dgm:prSet/>
      <dgm:spPr/>
      <dgm:t>
        <a:bodyPr/>
        <a:lstStyle/>
        <a:p>
          <a:endParaRPr lang="en-US"/>
        </a:p>
      </dgm:t>
    </dgm:pt>
    <dgm:pt modelId="{422A423E-2B2F-488C-B131-55783FFC5336}">
      <dgm:prSet phldrT="[Text]"/>
      <dgm:spPr/>
      <dgm:t>
        <a:bodyPr/>
        <a:lstStyle/>
        <a:p>
          <a:r>
            <a:rPr lang="en-US" dirty="0"/>
            <a:t>December 8, 2021</a:t>
          </a:r>
        </a:p>
      </dgm:t>
    </dgm:pt>
    <dgm:pt modelId="{481CEDA3-A655-4AD7-B277-9F01BE3A543B}" type="parTrans" cxnId="{C56DBDDA-9E4F-4705-BFAA-7ADA8770F23C}">
      <dgm:prSet/>
      <dgm:spPr/>
      <dgm:t>
        <a:bodyPr/>
        <a:lstStyle/>
        <a:p>
          <a:endParaRPr lang="en-US"/>
        </a:p>
      </dgm:t>
    </dgm:pt>
    <dgm:pt modelId="{970DC312-1927-41DD-BB9A-C7371CF0EAC6}" type="sibTrans" cxnId="{C56DBDDA-9E4F-4705-BFAA-7ADA8770F23C}">
      <dgm:prSet/>
      <dgm:spPr/>
      <dgm:t>
        <a:bodyPr/>
        <a:lstStyle/>
        <a:p>
          <a:endParaRPr lang="en-US"/>
        </a:p>
      </dgm:t>
    </dgm:pt>
    <dgm:pt modelId="{0E617551-1F5C-40C5-8020-354B9459B156}">
      <dgm:prSet phldrT="[Text]"/>
      <dgm:spPr/>
      <dgm:t>
        <a:bodyPr/>
        <a:lstStyle/>
        <a:p>
          <a:r>
            <a:rPr lang="en-US" dirty="0"/>
            <a:t>Software Development Kit </a:t>
          </a:r>
        </a:p>
      </dgm:t>
    </dgm:pt>
    <dgm:pt modelId="{DD711FD7-E4FD-43EF-A6AA-133B4EAD91BD}" type="parTrans" cxnId="{58054B63-73CF-4EA1-9DEB-793C7AD0FA7A}">
      <dgm:prSet/>
      <dgm:spPr/>
      <dgm:t>
        <a:bodyPr/>
        <a:lstStyle/>
        <a:p>
          <a:endParaRPr lang="en-US"/>
        </a:p>
      </dgm:t>
    </dgm:pt>
    <dgm:pt modelId="{B9414742-FA3D-4943-9CCC-1E7663C01C17}" type="sibTrans" cxnId="{58054B63-73CF-4EA1-9DEB-793C7AD0FA7A}">
      <dgm:prSet/>
      <dgm:spPr/>
      <dgm:t>
        <a:bodyPr/>
        <a:lstStyle/>
        <a:p>
          <a:endParaRPr lang="en-US"/>
        </a:p>
      </dgm:t>
    </dgm:pt>
    <dgm:pt modelId="{75D6A1C5-46E3-4C65-9F54-0396F79F91FA}">
      <dgm:prSet phldrT="[Text]"/>
      <dgm:spPr/>
      <dgm:t>
        <a:bodyPr/>
        <a:lstStyle/>
        <a:p>
          <a:r>
            <a:rPr lang="en-US" dirty="0"/>
            <a:t>April 6, 2022</a:t>
          </a:r>
        </a:p>
      </dgm:t>
    </dgm:pt>
    <dgm:pt modelId="{C419C5BD-B81F-4CE8-93D4-DD0A6B39F627}" type="parTrans" cxnId="{E42DD889-7BF3-43CC-AE87-13279032EFBD}">
      <dgm:prSet/>
      <dgm:spPr/>
      <dgm:t>
        <a:bodyPr/>
        <a:lstStyle/>
        <a:p>
          <a:endParaRPr lang="en-US"/>
        </a:p>
      </dgm:t>
    </dgm:pt>
    <dgm:pt modelId="{83F8860B-DB2F-4D35-8510-DE53F8DAF635}" type="sibTrans" cxnId="{E42DD889-7BF3-43CC-AE87-13279032EFBD}">
      <dgm:prSet/>
      <dgm:spPr/>
      <dgm:t>
        <a:bodyPr/>
        <a:lstStyle/>
        <a:p>
          <a:endParaRPr lang="en-US"/>
        </a:p>
      </dgm:t>
    </dgm:pt>
    <dgm:pt modelId="{CE89C2BC-B1F2-417A-8CDB-D6E8AA61CD40}">
      <dgm:prSet phldrT="[Text]"/>
      <dgm:spPr/>
      <dgm:t>
        <a:bodyPr/>
        <a:lstStyle/>
        <a:p>
          <a:r>
            <a:rPr lang="en-US" i="1" dirty="0"/>
            <a:t>Next Scheduled Webinar </a:t>
          </a:r>
        </a:p>
      </dgm:t>
    </dgm:pt>
    <dgm:pt modelId="{9B2EA463-C209-4FCC-871A-7115A4BB8B80}" type="parTrans" cxnId="{9C8DDE0F-8B18-40C2-AF76-996EEFB01682}">
      <dgm:prSet/>
      <dgm:spPr/>
      <dgm:t>
        <a:bodyPr/>
        <a:lstStyle/>
        <a:p>
          <a:endParaRPr lang="en-US"/>
        </a:p>
      </dgm:t>
    </dgm:pt>
    <dgm:pt modelId="{1FB1ED79-84E3-4B53-8EFB-F852C5DDCF6A}" type="sibTrans" cxnId="{9C8DDE0F-8B18-40C2-AF76-996EEFB01682}">
      <dgm:prSet/>
      <dgm:spPr/>
      <dgm:t>
        <a:bodyPr/>
        <a:lstStyle/>
        <a:p>
          <a:endParaRPr lang="en-US"/>
        </a:p>
      </dgm:t>
    </dgm:pt>
    <dgm:pt modelId="{B418CE65-BAA2-42D8-B990-718F4234D7A9}" type="pres">
      <dgm:prSet presAssocID="{0A613775-DB49-4F36-89C3-58B6ABD103FB}" presName="Name0" presStyleCnt="0">
        <dgm:presLayoutVars>
          <dgm:chMax/>
          <dgm:chPref val="3"/>
          <dgm:dir/>
          <dgm:animOne val="branch"/>
          <dgm:animLvl val="lvl"/>
        </dgm:presLayoutVars>
      </dgm:prSet>
      <dgm:spPr/>
    </dgm:pt>
    <dgm:pt modelId="{56B73050-0B72-4661-B1D7-43A02801F3F6}" type="pres">
      <dgm:prSet presAssocID="{7FCD229B-89F7-47AA-AD0B-6EF8697CA0A2}" presName="composite" presStyleCnt="0"/>
      <dgm:spPr/>
    </dgm:pt>
    <dgm:pt modelId="{A294C06B-FBBA-404A-9E35-7BCCE7FE690B}" type="pres">
      <dgm:prSet presAssocID="{7FCD229B-89F7-47AA-AD0B-6EF8697CA0A2}" presName="FirstChild" presStyleLbl="revTx" presStyleIdx="0" presStyleCnt="7" custScaleX="72561" custScaleY="89369">
        <dgm:presLayoutVars>
          <dgm:chMax val="0"/>
          <dgm:chPref val="0"/>
          <dgm:bulletEnabled val="1"/>
        </dgm:presLayoutVars>
      </dgm:prSet>
      <dgm:spPr/>
    </dgm:pt>
    <dgm:pt modelId="{1B439A7B-644E-4E7D-B764-AA10586D3AFE}" type="pres">
      <dgm:prSet presAssocID="{7FCD229B-89F7-47AA-AD0B-6EF8697CA0A2}" presName="Parent" presStyleLbl="alignNode1" presStyleIdx="0" presStyleCnt="7" custScaleX="165088">
        <dgm:presLayoutVars>
          <dgm:chMax val="3"/>
          <dgm:chPref val="3"/>
          <dgm:bulletEnabled val="1"/>
        </dgm:presLayoutVars>
      </dgm:prSet>
      <dgm:spPr/>
    </dgm:pt>
    <dgm:pt modelId="{49558B67-299C-4C73-9A60-6BA26DE01625}" type="pres">
      <dgm:prSet presAssocID="{7FCD229B-89F7-47AA-AD0B-6EF8697CA0A2}" presName="Accent" presStyleLbl="parChTrans1D1" presStyleIdx="0" presStyleCnt="7"/>
      <dgm:spPr/>
    </dgm:pt>
    <dgm:pt modelId="{A34FD4AD-F8C2-4CE9-9FC7-9FA31F4D104F}" type="pres">
      <dgm:prSet presAssocID="{8EA9F52F-AA5B-40BD-A177-FB3C1FF5BCB0}" presName="sibTrans" presStyleCnt="0"/>
      <dgm:spPr/>
    </dgm:pt>
    <dgm:pt modelId="{F69AB728-F969-40D9-86F0-7A676E23899C}" type="pres">
      <dgm:prSet presAssocID="{64013F17-8051-454C-8495-339ED386C122}" presName="composite" presStyleCnt="0"/>
      <dgm:spPr/>
    </dgm:pt>
    <dgm:pt modelId="{C50C8A71-A876-4540-959D-51DDC4D737E6}" type="pres">
      <dgm:prSet presAssocID="{64013F17-8051-454C-8495-339ED386C122}" presName="FirstChild" presStyleLbl="revTx" presStyleIdx="1" presStyleCnt="7" custScaleX="72561" custScaleY="89369">
        <dgm:presLayoutVars>
          <dgm:chMax val="0"/>
          <dgm:chPref val="0"/>
          <dgm:bulletEnabled val="1"/>
        </dgm:presLayoutVars>
      </dgm:prSet>
      <dgm:spPr/>
    </dgm:pt>
    <dgm:pt modelId="{188C198D-83C5-4746-BC1A-5AAE66446177}" type="pres">
      <dgm:prSet presAssocID="{64013F17-8051-454C-8495-339ED386C122}" presName="Parent" presStyleLbl="alignNode1" presStyleIdx="1" presStyleCnt="7" custScaleX="165088">
        <dgm:presLayoutVars>
          <dgm:chMax val="3"/>
          <dgm:chPref val="3"/>
          <dgm:bulletEnabled val="1"/>
        </dgm:presLayoutVars>
      </dgm:prSet>
      <dgm:spPr/>
    </dgm:pt>
    <dgm:pt modelId="{1D1FD7E1-8CAD-4163-A01A-578AC277F098}" type="pres">
      <dgm:prSet presAssocID="{64013F17-8051-454C-8495-339ED386C122}" presName="Accent" presStyleLbl="parChTrans1D1" presStyleIdx="1" presStyleCnt="7"/>
      <dgm:spPr/>
    </dgm:pt>
    <dgm:pt modelId="{5B20819F-7048-45B0-ABBC-F1AD01E133B9}" type="pres">
      <dgm:prSet presAssocID="{9B676383-B14C-40A3-8F96-550C101A2E46}" presName="sibTrans" presStyleCnt="0"/>
      <dgm:spPr/>
    </dgm:pt>
    <dgm:pt modelId="{F8950F2A-6E1F-4D54-B36F-EA0B28128604}" type="pres">
      <dgm:prSet presAssocID="{01C49D73-E83D-4262-B427-2C73D642F4A1}" presName="composite" presStyleCnt="0"/>
      <dgm:spPr/>
    </dgm:pt>
    <dgm:pt modelId="{02D8E4B1-F27C-44DF-B2CE-A816664ABC18}" type="pres">
      <dgm:prSet presAssocID="{01C49D73-E83D-4262-B427-2C73D642F4A1}" presName="FirstChild" presStyleLbl="revTx" presStyleIdx="2" presStyleCnt="7" custScaleX="72561" custScaleY="89369">
        <dgm:presLayoutVars>
          <dgm:chMax val="0"/>
          <dgm:chPref val="0"/>
          <dgm:bulletEnabled val="1"/>
        </dgm:presLayoutVars>
      </dgm:prSet>
      <dgm:spPr/>
    </dgm:pt>
    <dgm:pt modelId="{26FBCCFE-CC7E-4F3E-AB40-BCC316AF4227}" type="pres">
      <dgm:prSet presAssocID="{01C49D73-E83D-4262-B427-2C73D642F4A1}" presName="Parent" presStyleLbl="alignNode1" presStyleIdx="2" presStyleCnt="7" custScaleX="165088">
        <dgm:presLayoutVars>
          <dgm:chMax val="3"/>
          <dgm:chPref val="3"/>
          <dgm:bulletEnabled val="1"/>
        </dgm:presLayoutVars>
      </dgm:prSet>
      <dgm:spPr/>
    </dgm:pt>
    <dgm:pt modelId="{6A2273F1-22AD-4324-8254-4AF354311B28}" type="pres">
      <dgm:prSet presAssocID="{01C49D73-E83D-4262-B427-2C73D642F4A1}" presName="Accent" presStyleLbl="parChTrans1D1" presStyleIdx="2" presStyleCnt="7"/>
      <dgm:spPr/>
    </dgm:pt>
    <dgm:pt modelId="{C35428D8-2C35-4214-9D03-DC85A45AD81E}" type="pres">
      <dgm:prSet presAssocID="{85CFA6BE-F155-4A32-8BF9-B8BC521398AD}" presName="sibTrans" presStyleCnt="0"/>
      <dgm:spPr/>
    </dgm:pt>
    <dgm:pt modelId="{531C6903-BB20-4629-9FAF-C86487625FB4}" type="pres">
      <dgm:prSet presAssocID="{A86047C0-74DD-4500-901C-C6845109756C}" presName="composite" presStyleCnt="0"/>
      <dgm:spPr/>
    </dgm:pt>
    <dgm:pt modelId="{A167980C-A418-4750-94A1-D37F749A9D6D}" type="pres">
      <dgm:prSet presAssocID="{A86047C0-74DD-4500-901C-C6845109756C}" presName="FirstChild" presStyleLbl="revTx" presStyleIdx="3" presStyleCnt="7" custScaleX="72561" custScaleY="89369">
        <dgm:presLayoutVars>
          <dgm:chMax val="0"/>
          <dgm:chPref val="0"/>
          <dgm:bulletEnabled val="1"/>
        </dgm:presLayoutVars>
      </dgm:prSet>
      <dgm:spPr/>
    </dgm:pt>
    <dgm:pt modelId="{69B19438-797E-4333-B71A-EB9D2C21A69B}" type="pres">
      <dgm:prSet presAssocID="{A86047C0-74DD-4500-901C-C6845109756C}" presName="Parent" presStyleLbl="alignNode1" presStyleIdx="3" presStyleCnt="7" custScaleX="165088">
        <dgm:presLayoutVars>
          <dgm:chMax val="3"/>
          <dgm:chPref val="3"/>
          <dgm:bulletEnabled val="1"/>
        </dgm:presLayoutVars>
      </dgm:prSet>
      <dgm:spPr/>
    </dgm:pt>
    <dgm:pt modelId="{CF906D29-6421-4B94-A2A9-FAAE06ED6071}" type="pres">
      <dgm:prSet presAssocID="{A86047C0-74DD-4500-901C-C6845109756C}" presName="Accent" presStyleLbl="parChTrans1D1" presStyleIdx="3" presStyleCnt="7"/>
      <dgm:spPr/>
    </dgm:pt>
    <dgm:pt modelId="{DA476435-3854-41D8-8019-58F1367DB8C7}" type="pres">
      <dgm:prSet presAssocID="{0FB0B20B-9ACC-4C14-8DBB-5CAB24C0BB62}" presName="sibTrans" presStyleCnt="0"/>
      <dgm:spPr/>
    </dgm:pt>
    <dgm:pt modelId="{B7E62230-BE6C-4F09-8BB0-E89B2128A310}" type="pres">
      <dgm:prSet presAssocID="{422A423E-2B2F-488C-B131-55783FFC5336}" presName="composite" presStyleCnt="0"/>
      <dgm:spPr/>
    </dgm:pt>
    <dgm:pt modelId="{31C26570-D429-4329-B2B8-4135B85D8DBA}" type="pres">
      <dgm:prSet presAssocID="{422A423E-2B2F-488C-B131-55783FFC5336}" presName="FirstChild" presStyleLbl="revTx" presStyleIdx="4" presStyleCnt="7" custScaleX="72561" custScaleY="89369">
        <dgm:presLayoutVars>
          <dgm:chMax val="0"/>
          <dgm:chPref val="0"/>
          <dgm:bulletEnabled val="1"/>
        </dgm:presLayoutVars>
      </dgm:prSet>
      <dgm:spPr/>
    </dgm:pt>
    <dgm:pt modelId="{D13FC151-79B5-41BD-AFF5-8D3EB17E3213}" type="pres">
      <dgm:prSet presAssocID="{422A423E-2B2F-488C-B131-55783FFC5336}" presName="Parent" presStyleLbl="alignNode1" presStyleIdx="4" presStyleCnt="7" custScaleX="165088">
        <dgm:presLayoutVars>
          <dgm:chMax val="3"/>
          <dgm:chPref val="3"/>
          <dgm:bulletEnabled val="1"/>
        </dgm:presLayoutVars>
      </dgm:prSet>
      <dgm:spPr/>
    </dgm:pt>
    <dgm:pt modelId="{5C841EB3-4841-405C-A4D3-A3B0E897C6CC}" type="pres">
      <dgm:prSet presAssocID="{422A423E-2B2F-488C-B131-55783FFC5336}" presName="Accent" presStyleLbl="parChTrans1D1" presStyleIdx="4" presStyleCnt="7"/>
      <dgm:spPr/>
    </dgm:pt>
    <dgm:pt modelId="{76EF743D-C348-4547-ADA2-50940A7BAF11}" type="pres">
      <dgm:prSet presAssocID="{970DC312-1927-41DD-BB9A-C7371CF0EAC6}" presName="sibTrans" presStyleCnt="0"/>
      <dgm:spPr/>
    </dgm:pt>
    <dgm:pt modelId="{2BE81382-D2CF-4FDB-9981-E5387CBA3B1C}" type="pres">
      <dgm:prSet presAssocID="{51C1EFAD-4930-4AA1-A52D-F822C67EA8F6}" presName="composite" presStyleCnt="0"/>
      <dgm:spPr/>
    </dgm:pt>
    <dgm:pt modelId="{C9AB0FCB-74B5-4D94-B9D6-78D51F82658A}" type="pres">
      <dgm:prSet presAssocID="{51C1EFAD-4930-4AA1-A52D-F822C67EA8F6}" presName="FirstChild" presStyleLbl="revTx" presStyleIdx="5" presStyleCnt="7" custScaleX="72561" custScaleY="89369">
        <dgm:presLayoutVars>
          <dgm:chMax val="0"/>
          <dgm:chPref val="0"/>
          <dgm:bulletEnabled val="1"/>
        </dgm:presLayoutVars>
      </dgm:prSet>
      <dgm:spPr/>
    </dgm:pt>
    <dgm:pt modelId="{8DC9D307-00AA-4A9F-B943-5F204ABDA995}" type="pres">
      <dgm:prSet presAssocID="{51C1EFAD-4930-4AA1-A52D-F822C67EA8F6}" presName="Parent" presStyleLbl="alignNode1" presStyleIdx="5" presStyleCnt="7" custScaleX="165088">
        <dgm:presLayoutVars>
          <dgm:chMax val="3"/>
          <dgm:chPref val="3"/>
          <dgm:bulletEnabled val="1"/>
        </dgm:presLayoutVars>
      </dgm:prSet>
      <dgm:spPr/>
    </dgm:pt>
    <dgm:pt modelId="{9C4FA774-8559-45BD-AE35-8B51F76610BF}" type="pres">
      <dgm:prSet presAssocID="{51C1EFAD-4930-4AA1-A52D-F822C67EA8F6}" presName="Accent" presStyleLbl="parChTrans1D1" presStyleIdx="5" presStyleCnt="7"/>
      <dgm:spPr/>
    </dgm:pt>
    <dgm:pt modelId="{3299E75B-026D-44BE-AB7F-04E1BC887382}" type="pres">
      <dgm:prSet presAssocID="{1274B93A-F539-4D40-9B4C-88404660F2E0}" presName="sibTrans" presStyleCnt="0"/>
      <dgm:spPr/>
    </dgm:pt>
    <dgm:pt modelId="{A9E0AAD8-A0DF-43FD-A09E-BA9545ACB45E}" type="pres">
      <dgm:prSet presAssocID="{75D6A1C5-46E3-4C65-9F54-0396F79F91FA}" presName="composite" presStyleCnt="0"/>
      <dgm:spPr/>
    </dgm:pt>
    <dgm:pt modelId="{0EAEA6F8-8D35-46B4-BB2C-752999737932}" type="pres">
      <dgm:prSet presAssocID="{75D6A1C5-46E3-4C65-9F54-0396F79F91FA}" presName="FirstChild" presStyleLbl="revTx" presStyleIdx="6" presStyleCnt="7" custScaleX="72971">
        <dgm:presLayoutVars>
          <dgm:chMax val="0"/>
          <dgm:chPref val="0"/>
          <dgm:bulletEnabled val="1"/>
        </dgm:presLayoutVars>
      </dgm:prSet>
      <dgm:spPr/>
    </dgm:pt>
    <dgm:pt modelId="{0735FCEE-C2CB-48FE-AAB1-B4CDD852BA54}" type="pres">
      <dgm:prSet presAssocID="{75D6A1C5-46E3-4C65-9F54-0396F79F91FA}" presName="Parent" presStyleLbl="alignNode1" presStyleIdx="6" presStyleCnt="7" custScaleX="165088">
        <dgm:presLayoutVars>
          <dgm:chMax val="3"/>
          <dgm:chPref val="3"/>
          <dgm:bulletEnabled val="1"/>
        </dgm:presLayoutVars>
      </dgm:prSet>
      <dgm:spPr/>
    </dgm:pt>
    <dgm:pt modelId="{F5957313-719C-4AB2-8E4D-335379354495}" type="pres">
      <dgm:prSet presAssocID="{75D6A1C5-46E3-4C65-9F54-0396F79F91FA}" presName="Accent" presStyleLbl="parChTrans1D1" presStyleIdx="6" presStyleCnt="7"/>
      <dgm:spPr/>
    </dgm:pt>
  </dgm:ptLst>
  <dgm:cxnLst>
    <dgm:cxn modelId="{DC245C02-8585-4754-9E9D-4C51A8135AAB}" type="presOf" srcId="{0E617551-1F5C-40C5-8020-354B9459B156}" destId="{31C26570-D429-4329-B2B8-4135B85D8DBA}" srcOrd="0" destOrd="0" presId="urn:microsoft.com/office/officeart/2011/layout/TabList"/>
    <dgm:cxn modelId="{D2178403-4AA4-4CD0-9D6D-0FB364166A8C}" type="presOf" srcId="{51C1EFAD-4930-4AA1-A52D-F822C67EA8F6}" destId="{8DC9D307-00AA-4A9F-B943-5F204ABDA995}" srcOrd="0" destOrd="0" presId="urn:microsoft.com/office/officeart/2011/layout/TabList"/>
    <dgm:cxn modelId="{88B3EA0A-6332-4FA1-943B-EC1A8B0576AE}" srcId="{0A613775-DB49-4F36-89C3-58B6ABD103FB}" destId="{7FCD229B-89F7-47AA-AD0B-6EF8697CA0A2}" srcOrd="0" destOrd="0" parTransId="{986E28C5-3654-4CBD-8045-AADD73EE2269}" sibTransId="{8EA9F52F-AA5B-40BD-A177-FB3C1FF5BCB0}"/>
    <dgm:cxn modelId="{9C8DDE0F-8B18-40C2-AF76-996EEFB01682}" srcId="{75D6A1C5-46E3-4C65-9F54-0396F79F91FA}" destId="{CE89C2BC-B1F2-417A-8CDB-D6E8AA61CD40}" srcOrd="0" destOrd="0" parTransId="{9B2EA463-C209-4FCC-871A-7115A4BB8B80}" sibTransId="{1FB1ED79-84E3-4B53-8EFB-F852C5DDCF6A}"/>
    <dgm:cxn modelId="{5C636010-9456-4E45-8464-8C2606D1C0C5}" srcId="{51C1EFAD-4930-4AA1-A52D-F822C67EA8F6}" destId="{12D1A4E0-3B78-4B92-9BB2-3CD58DFF5C69}" srcOrd="0" destOrd="0" parTransId="{2FDA0878-9C34-458F-B0F3-7B18CB62D641}" sibTransId="{7ADEF026-166C-44F1-AB4D-D637F68F626D}"/>
    <dgm:cxn modelId="{7BB14424-B275-4724-9B84-757D83CF85F0}" type="presOf" srcId="{01C49D73-E83D-4262-B427-2C73D642F4A1}" destId="{26FBCCFE-CC7E-4F3E-AB40-BCC316AF4227}" srcOrd="0" destOrd="0" presId="urn:microsoft.com/office/officeart/2011/layout/TabList"/>
    <dgm:cxn modelId="{5AB85F27-3394-4764-9C0E-3CCF08B4D392}" type="presOf" srcId="{422A423E-2B2F-488C-B131-55783FFC5336}" destId="{D13FC151-79B5-41BD-AFF5-8D3EB17E3213}" srcOrd="0" destOrd="0" presId="urn:microsoft.com/office/officeart/2011/layout/TabList"/>
    <dgm:cxn modelId="{9B82BE3E-384B-4828-8208-75C329C52041}" type="presOf" srcId="{64013F17-8051-454C-8495-339ED386C122}" destId="{188C198D-83C5-4746-BC1A-5AAE66446177}" srcOrd="0" destOrd="0" presId="urn:microsoft.com/office/officeart/2011/layout/TabList"/>
    <dgm:cxn modelId="{D406863F-F6DB-41A9-BFAC-3687CF4863E0}" type="presOf" srcId="{12D1A4E0-3B78-4B92-9BB2-3CD58DFF5C69}" destId="{C9AB0FCB-74B5-4D94-B9D6-78D51F82658A}" srcOrd="0" destOrd="0" presId="urn:microsoft.com/office/officeart/2011/layout/TabList"/>
    <dgm:cxn modelId="{58054B63-73CF-4EA1-9DEB-793C7AD0FA7A}" srcId="{422A423E-2B2F-488C-B131-55783FFC5336}" destId="{0E617551-1F5C-40C5-8020-354B9459B156}" srcOrd="0" destOrd="0" parTransId="{DD711FD7-E4FD-43EF-A6AA-133B4EAD91BD}" sibTransId="{B9414742-FA3D-4943-9CCC-1E7663C01C17}"/>
    <dgm:cxn modelId="{019AD76A-8DAA-4033-9CAE-F1D6DADCA643}" type="presOf" srcId="{633A5F03-BB7F-4359-B531-F1E99862CD03}" destId="{A294C06B-FBBA-404A-9E35-7BCCE7FE690B}" srcOrd="0" destOrd="0" presId="urn:microsoft.com/office/officeart/2011/layout/TabList"/>
    <dgm:cxn modelId="{7D939951-D958-47BF-8A0D-C97659F590D2}" type="presOf" srcId="{0A613775-DB49-4F36-89C3-58B6ABD103FB}" destId="{B418CE65-BAA2-42D8-B990-718F4234D7A9}" srcOrd="0" destOrd="0" presId="urn:microsoft.com/office/officeart/2011/layout/TabList"/>
    <dgm:cxn modelId="{52027E54-8AE6-4807-8A77-DC772DEFFB96}" type="presOf" srcId="{CE89C2BC-B1F2-417A-8CDB-D6E8AA61CD40}" destId="{0EAEA6F8-8D35-46B4-BB2C-752999737932}" srcOrd="0" destOrd="0" presId="urn:microsoft.com/office/officeart/2011/layout/TabList"/>
    <dgm:cxn modelId="{E42DD889-7BF3-43CC-AE87-13279032EFBD}" srcId="{0A613775-DB49-4F36-89C3-58B6ABD103FB}" destId="{75D6A1C5-46E3-4C65-9F54-0396F79F91FA}" srcOrd="6" destOrd="0" parTransId="{C419C5BD-B81F-4CE8-93D4-DD0A6B39F627}" sibTransId="{83F8860B-DB2F-4D35-8510-DE53F8DAF635}"/>
    <dgm:cxn modelId="{DCB6978C-2463-4323-BCB3-4C23805B192B}" srcId="{0A613775-DB49-4F36-89C3-58B6ABD103FB}" destId="{51C1EFAD-4930-4AA1-A52D-F822C67EA8F6}" srcOrd="5" destOrd="0" parTransId="{CC9DC8CD-EE3B-4022-8B09-04EE23C7B593}" sibTransId="{1274B93A-F539-4D40-9B4C-88404660F2E0}"/>
    <dgm:cxn modelId="{E542228D-575B-4ACE-9AA2-88A3A567DF67}" srcId="{0A613775-DB49-4F36-89C3-58B6ABD103FB}" destId="{A86047C0-74DD-4500-901C-C6845109756C}" srcOrd="3" destOrd="0" parTransId="{3AEA1591-5D79-4B7A-987B-A0C6F42F151F}" sibTransId="{0FB0B20B-9ACC-4C14-8DBB-5CAB24C0BB62}"/>
    <dgm:cxn modelId="{99B3F08D-1271-4B12-8C82-B321A5A219DD}" type="presOf" srcId="{7FCD229B-89F7-47AA-AD0B-6EF8697CA0A2}" destId="{1B439A7B-644E-4E7D-B764-AA10586D3AFE}" srcOrd="0" destOrd="0" presId="urn:microsoft.com/office/officeart/2011/layout/TabList"/>
    <dgm:cxn modelId="{D65F859E-5AFF-42C9-A6A1-227414807FAE}" type="presOf" srcId="{0CB5EB88-70A0-4616-AD90-23274DB93028}" destId="{02D8E4B1-F27C-44DF-B2CE-A816664ABC18}" srcOrd="0" destOrd="0" presId="urn:microsoft.com/office/officeart/2011/layout/TabList"/>
    <dgm:cxn modelId="{4E23F2A4-7F25-482E-85C2-A5DA73F7746E}" srcId="{0A613775-DB49-4F36-89C3-58B6ABD103FB}" destId="{01C49D73-E83D-4262-B427-2C73D642F4A1}" srcOrd="2" destOrd="0" parTransId="{835B0A60-3648-4BA7-8549-D335A6613440}" sibTransId="{85CFA6BE-F155-4A32-8BF9-B8BC521398AD}"/>
    <dgm:cxn modelId="{31D50EBB-1C46-4EAC-BB93-F4D4EB787033}" srcId="{01C49D73-E83D-4262-B427-2C73D642F4A1}" destId="{0CB5EB88-70A0-4616-AD90-23274DB93028}" srcOrd="0" destOrd="0" parTransId="{6DD4977C-4D0F-4481-A898-204AE336DA83}" sibTransId="{0407E943-EF66-4492-B92D-6BEFF0DFCE16}"/>
    <dgm:cxn modelId="{91874EC8-80F6-4AEF-ACA9-51737C53432D}" srcId="{A86047C0-74DD-4500-901C-C6845109756C}" destId="{843013CC-5B18-4D41-AEEE-BC37DBA66150}" srcOrd="0" destOrd="0" parTransId="{AA835410-750A-451A-8DC1-6F3ED0E73C0F}" sibTransId="{F248BCD3-677A-4BFE-80E3-5EBFB4B27DBF}"/>
    <dgm:cxn modelId="{067476CE-2FAD-4A7A-8A9C-9A0456EB7FA1}" type="presOf" srcId="{843013CC-5B18-4D41-AEEE-BC37DBA66150}" destId="{A167980C-A418-4750-94A1-D37F749A9D6D}" srcOrd="0" destOrd="0" presId="urn:microsoft.com/office/officeart/2011/layout/TabList"/>
    <dgm:cxn modelId="{CD87D0D0-FBDA-4A28-BCB9-5CEA16DF3E8A}" srcId="{0A613775-DB49-4F36-89C3-58B6ABD103FB}" destId="{64013F17-8051-454C-8495-339ED386C122}" srcOrd="1" destOrd="0" parTransId="{D05BC7AA-165D-4465-B1E5-C08D183F4CE5}" sibTransId="{9B676383-B14C-40A3-8F96-550C101A2E46}"/>
    <dgm:cxn modelId="{C56DBDDA-9E4F-4705-BFAA-7ADA8770F23C}" srcId="{0A613775-DB49-4F36-89C3-58B6ABD103FB}" destId="{422A423E-2B2F-488C-B131-55783FFC5336}" srcOrd="4" destOrd="0" parTransId="{481CEDA3-A655-4AD7-B277-9F01BE3A543B}" sibTransId="{970DC312-1927-41DD-BB9A-C7371CF0EAC6}"/>
    <dgm:cxn modelId="{0FE722E1-F7CF-45B7-B009-E00700BFF2C6}" type="presOf" srcId="{A86047C0-74DD-4500-901C-C6845109756C}" destId="{69B19438-797E-4333-B71A-EB9D2C21A69B}" srcOrd="0" destOrd="0" presId="urn:microsoft.com/office/officeart/2011/layout/TabList"/>
    <dgm:cxn modelId="{83008BE5-6637-49BA-A180-8C3408C13023}" type="presOf" srcId="{DA016258-36EC-4AA9-A5F4-DC8892DFAC98}" destId="{C50C8A71-A876-4540-959D-51DDC4D737E6}" srcOrd="0" destOrd="0" presId="urn:microsoft.com/office/officeart/2011/layout/TabList"/>
    <dgm:cxn modelId="{BCB64EE7-7753-4996-9696-EC60D385C473}" type="presOf" srcId="{75D6A1C5-46E3-4C65-9F54-0396F79F91FA}" destId="{0735FCEE-C2CB-48FE-AAB1-B4CDD852BA54}" srcOrd="0" destOrd="0" presId="urn:microsoft.com/office/officeart/2011/layout/TabList"/>
    <dgm:cxn modelId="{9C1D46FA-260B-4AEC-A9CE-9E472D2ABF8A}" srcId="{64013F17-8051-454C-8495-339ED386C122}" destId="{DA016258-36EC-4AA9-A5F4-DC8892DFAC98}" srcOrd="0" destOrd="0" parTransId="{9AB980C8-056C-4340-9A6E-1A9313E0105F}" sibTransId="{F6555F82-3EAB-4962-A054-9C61E6BEE26D}"/>
    <dgm:cxn modelId="{EE5769FB-2A6E-4B37-BA7A-8B9B46C67F2D}" srcId="{7FCD229B-89F7-47AA-AD0B-6EF8697CA0A2}" destId="{633A5F03-BB7F-4359-B531-F1E99862CD03}" srcOrd="0" destOrd="0" parTransId="{BCA0291F-62E6-4289-8399-8B58764C7805}" sibTransId="{DF519FC4-9413-45F2-99BF-FA227BBE67FF}"/>
    <dgm:cxn modelId="{9A1C9579-5F1B-4351-A8D2-188682FC7671}" type="presParOf" srcId="{B418CE65-BAA2-42D8-B990-718F4234D7A9}" destId="{56B73050-0B72-4661-B1D7-43A02801F3F6}" srcOrd="0" destOrd="0" presId="urn:microsoft.com/office/officeart/2011/layout/TabList"/>
    <dgm:cxn modelId="{E1260339-F4D6-4C1B-A92B-266E44071823}" type="presParOf" srcId="{56B73050-0B72-4661-B1D7-43A02801F3F6}" destId="{A294C06B-FBBA-404A-9E35-7BCCE7FE690B}" srcOrd="0" destOrd="0" presId="urn:microsoft.com/office/officeart/2011/layout/TabList"/>
    <dgm:cxn modelId="{EB072468-C8F2-4C28-8059-F265625302EB}" type="presParOf" srcId="{56B73050-0B72-4661-B1D7-43A02801F3F6}" destId="{1B439A7B-644E-4E7D-B764-AA10586D3AFE}" srcOrd="1" destOrd="0" presId="urn:microsoft.com/office/officeart/2011/layout/TabList"/>
    <dgm:cxn modelId="{B644EDB2-6D9A-488F-AD7B-6382FB763AC9}" type="presParOf" srcId="{56B73050-0B72-4661-B1D7-43A02801F3F6}" destId="{49558B67-299C-4C73-9A60-6BA26DE01625}" srcOrd="2" destOrd="0" presId="urn:microsoft.com/office/officeart/2011/layout/TabList"/>
    <dgm:cxn modelId="{591165A2-63C3-46E3-ABA9-C176F9D71E54}" type="presParOf" srcId="{B418CE65-BAA2-42D8-B990-718F4234D7A9}" destId="{A34FD4AD-F8C2-4CE9-9FC7-9FA31F4D104F}" srcOrd="1" destOrd="0" presId="urn:microsoft.com/office/officeart/2011/layout/TabList"/>
    <dgm:cxn modelId="{23AE3134-52ED-40D7-8E54-A987FABE4022}" type="presParOf" srcId="{B418CE65-BAA2-42D8-B990-718F4234D7A9}" destId="{F69AB728-F969-40D9-86F0-7A676E23899C}" srcOrd="2" destOrd="0" presId="urn:microsoft.com/office/officeart/2011/layout/TabList"/>
    <dgm:cxn modelId="{07B789AF-E68A-417D-A7F4-D4232B81C645}" type="presParOf" srcId="{F69AB728-F969-40D9-86F0-7A676E23899C}" destId="{C50C8A71-A876-4540-959D-51DDC4D737E6}" srcOrd="0" destOrd="0" presId="urn:microsoft.com/office/officeart/2011/layout/TabList"/>
    <dgm:cxn modelId="{EA5A7A3C-3D66-44CE-BE94-FAF6597406C6}" type="presParOf" srcId="{F69AB728-F969-40D9-86F0-7A676E23899C}" destId="{188C198D-83C5-4746-BC1A-5AAE66446177}" srcOrd="1" destOrd="0" presId="urn:microsoft.com/office/officeart/2011/layout/TabList"/>
    <dgm:cxn modelId="{E4BD6E6A-2085-4E8C-8373-E8D00A186A29}" type="presParOf" srcId="{F69AB728-F969-40D9-86F0-7A676E23899C}" destId="{1D1FD7E1-8CAD-4163-A01A-578AC277F098}" srcOrd="2" destOrd="0" presId="urn:microsoft.com/office/officeart/2011/layout/TabList"/>
    <dgm:cxn modelId="{EDEA06B6-46C8-479C-A6CD-4989E93F7F5E}" type="presParOf" srcId="{B418CE65-BAA2-42D8-B990-718F4234D7A9}" destId="{5B20819F-7048-45B0-ABBC-F1AD01E133B9}" srcOrd="3" destOrd="0" presId="urn:microsoft.com/office/officeart/2011/layout/TabList"/>
    <dgm:cxn modelId="{F3405C5C-B7AA-44E0-8215-C2BFB5B1827F}" type="presParOf" srcId="{B418CE65-BAA2-42D8-B990-718F4234D7A9}" destId="{F8950F2A-6E1F-4D54-B36F-EA0B28128604}" srcOrd="4" destOrd="0" presId="urn:microsoft.com/office/officeart/2011/layout/TabList"/>
    <dgm:cxn modelId="{2DFFE989-6135-4C36-B941-67B235BCDB08}" type="presParOf" srcId="{F8950F2A-6E1F-4D54-B36F-EA0B28128604}" destId="{02D8E4B1-F27C-44DF-B2CE-A816664ABC18}" srcOrd="0" destOrd="0" presId="urn:microsoft.com/office/officeart/2011/layout/TabList"/>
    <dgm:cxn modelId="{A094F04C-C102-445C-AE50-AD02A0D1B01D}" type="presParOf" srcId="{F8950F2A-6E1F-4D54-B36F-EA0B28128604}" destId="{26FBCCFE-CC7E-4F3E-AB40-BCC316AF4227}" srcOrd="1" destOrd="0" presId="urn:microsoft.com/office/officeart/2011/layout/TabList"/>
    <dgm:cxn modelId="{98AB86A6-6B66-4ECD-A20C-60F8156F7244}" type="presParOf" srcId="{F8950F2A-6E1F-4D54-B36F-EA0B28128604}" destId="{6A2273F1-22AD-4324-8254-4AF354311B28}" srcOrd="2" destOrd="0" presId="urn:microsoft.com/office/officeart/2011/layout/TabList"/>
    <dgm:cxn modelId="{812ED3CE-1CD1-412F-8638-F588AE35AA7C}" type="presParOf" srcId="{B418CE65-BAA2-42D8-B990-718F4234D7A9}" destId="{C35428D8-2C35-4214-9D03-DC85A45AD81E}" srcOrd="5" destOrd="0" presId="urn:microsoft.com/office/officeart/2011/layout/TabList"/>
    <dgm:cxn modelId="{6C809437-EBBA-4CD2-AA93-508BDA036D19}" type="presParOf" srcId="{B418CE65-BAA2-42D8-B990-718F4234D7A9}" destId="{531C6903-BB20-4629-9FAF-C86487625FB4}" srcOrd="6" destOrd="0" presId="urn:microsoft.com/office/officeart/2011/layout/TabList"/>
    <dgm:cxn modelId="{4CE4BE13-D726-42AC-9677-9D90C8F5CB78}" type="presParOf" srcId="{531C6903-BB20-4629-9FAF-C86487625FB4}" destId="{A167980C-A418-4750-94A1-D37F749A9D6D}" srcOrd="0" destOrd="0" presId="urn:microsoft.com/office/officeart/2011/layout/TabList"/>
    <dgm:cxn modelId="{706A5C8D-A5E4-4CD4-824C-1454AED7E79E}" type="presParOf" srcId="{531C6903-BB20-4629-9FAF-C86487625FB4}" destId="{69B19438-797E-4333-B71A-EB9D2C21A69B}" srcOrd="1" destOrd="0" presId="urn:microsoft.com/office/officeart/2011/layout/TabList"/>
    <dgm:cxn modelId="{13FE6F27-8350-4483-A601-BC07C00C4FB5}" type="presParOf" srcId="{531C6903-BB20-4629-9FAF-C86487625FB4}" destId="{CF906D29-6421-4B94-A2A9-FAAE06ED6071}" srcOrd="2" destOrd="0" presId="urn:microsoft.com/office/officeart/2011/layout/TabList"/>
    <dgm:cxn modelId="{8C01DAFE-129B-4736-8F34-5CF497F44D31}" type="presParOf" srcId="{B418CE65-BAA2-42D8-B990-718F4234D7A9}" destId="{DA476435-3854-41D8-8019-58F1367DB8C7}" srcOrd="7" destOrd="0" presId="urn:microsoft.com/office/officeart/2011/layout/TabList"/>
    <dgm:cxn modelId="{A6C1D239-8244-4B5C-9FE3-D631044B8254}" type="presParOf" srcId="{B418CE65-BAA2-42D8-B990-718F4234D7A9}" destId="{B7E62230-BE6C-4F09-8BB0-E89B2128A310}" srcOrd="8" destOrd="0" presId="urn:microsoft.com/office/officeart/2011/layout/TabList"/>
    <dgm:cxn modelId="{64B2211B-0058-4A44-990F-C10714B1E6D8}" type="presParOf" srcId="{B7E62230-BE6C-4F09-8BB0-E89B2128A310}" destId="{31C26570-D429-4329-B2B8-4135B85D8DBA}" srcOrd="0" destOrd="0" presId="urn:microsoft.com/office/officeart/2011/layout/TabList"/>
    <dgm:cxn modelId="{B593A40D-F56E-4D82-9FF5-8EC0EC908F30}" type="presParOf" srcId="{B7E62230-BE6C-4F09-8BB0-E89B2128A310}" destId="{D13FC151-79B5-41BD-AFF5-8D3EB17E3213}" srcOrd="1" destOrd="0" presId="urn:microsoft.com/office/officeart/2011/layout/TabList"/>
    <dgm:cxn modelId="{A77FAC6F-92C7-46D1-9B1D-EA055C304EE5}" type="presParOf" srcId="{B7E62230-BE6C-4F09-8BB0-E89B2128A310}" destId="{5C841EB3-4841-405C-A4D3-A3B0E897C6CC}" srcOrd="2" destOrd="0" presId="urn:microsoft.com/office/officeart/2011/layout/TabList"/>
    <dgm:cxn modelId="{E8E71EE9-9DC2-411C-A703-E279DB2A5852}" type="presParOf" srcId="{B418CE65-BAA2-42D8-B990-718F4234D7A9}" destId="{76EF743D-C348-4547-ADA2-50940A7BAF11}" srcOrd="9" destOrd="0" presId="urn:microsoft.com/office/officeart/2011/layout/TabList"/>
    <dgm:cxn modelId="{EAA7A811-A576-47D8-B8C9-73F2DFDB73C6}" type="presParOf" srcId="{B418CE65-BAA2-42D8-B990-718F4234D7A9}" destId="{2BE81382-D2CF-4FDB-9981-E5387CBA3B1C}" srcOrd="10" destOrd="0" presId="urn:microsoft.com/office/officeart/2011/layout/TabList"/>
    <dgm:cxn modelId="{C8A57A7E-C065-41B6-85B0-F8A828320BBE}" type="presParOf" srcId="{2BE81382-D2CF-4FDB-9981-E5387CBA3B1C}" destId="{C9AB0FCB-74B5-4D94-B9D6-78D51F82658A}" srcOrd="0" destOrd="0" presId="urn:microsoft.com/office/officeart/2011/layout/TabList"/>
    <dgm:cxn modelId="{48BDFFC5-5C1A-451D-ADBC-CFADFE37B75E}" type="presParOf" srcId="{2BE81382-D2CF-4FDB-9981-E5387CBA3B1C}" destId="{8DC9D307-00AA-4A9F-B943-5F204ABDA995}" srcOrd="1" destOrd="0" presId="urn:microsoft.com/office/officeart/2011/layout/TabList"/>
    <dgm:cxn modelId="{8AD272E9-A373-48EC-A997-FDC5B6722767}" type="presParOf" srcId="{2BE81382-D2CF-4FDB-9981-E5387CBA3B1C}" destId="{9C4FA774-8559-45BD-AE35-8B51F76610BF}" srcOrd="2" destOrd="0" presId="urn:microsoft.com/office/officeart/2011/layout/TabList"/>
    <dgm:cxn modelId="{EADFAD15-93F8-4819-AF1A-9A0AA097D0D2}" type="presParOf" srcId="{B418CE65-BAA2-42D8-B990-718F4234D7A9}" destId="{3299E75B-026D-44BE-AB7F-04E1BC887382}" srcOrd="11" destOrd="0" presId="urn:microsoft.com/office/officeart/2011/layout/TabList"/>
    <dgm:cxn modelId="{35DDC073-7B5A-4843-A0A2-B85A1B58C3CC}" type="presParOf" srcId="{B418CE65-BAA2-42D8-B990-718F4234D7A9}" destId="{A9E0AAD8-A0DF-43FD-A09E-BA9545ACB45E}" srcOrd="12" destOrd="0" presId="urn:microsoft.com/office/officeart/2011/layout/TabList"/>
    <dgm:cxn modelId="{8F17D6B1-CFB8-45A0-9D7E-922E70B507FC}" type="presParOf" srcId="{A9E0AAD8-A0DF-43FD-A09E-BA9545ACB45E}" destId="{0EAEA6F8-8D35-46B4-BB2C-752999737932}" srcOrd="0" destOrd="0" presId="urn:microsoft.com/office/officeart/2011/layout/TabList"/>
    <dgm:cxn modelId="{C55C80F2-7BC6-4D78-9CE8-855EC8BD651B}" type="presParOf" srcId="{A9E0AAD8-A0DF-43FD-A09E-BA9545ACB45E}" destId="{0735FCEE-C2CB-48FE-AAB1-B4CDD852BA54}" srcOrd="1" destOrd="0" presId="urn:microsoft.com/office/officeart/2011/layout/TabList"/>
    <dgm:cxn modelId="{082EF5E6-64B9-4F11-954A-62B8CD97B7B0}" type="presParOf" srcId="{A9E0AAD8-A0DF-43FD-A09E-BA9545ACB45E}" destId="{F5957313-719C-4AB2-8E4D-335379354495}" srcOrd="2" destOrd="0" presId="urn:microsoft.com/office/officeart/2011/layout/Tab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0AEB70-5DE0-4816-8834-36BAFCE43FDD}">
      <dsp:nvSpPr>
        <dsp:cNvPr id="0" name=""/>
        <dsp:cNvSpPr/>
      </dsp:nvSpPr>
      <dsp:spPr>
        <a:xfrm>
          <a:off x="0" y="4078917"/>
          <a:ext cx="8128000" cy="1338791"/>
        </a:xfrm>
        <a:prstGeom prst="rect">
          <a:avLst/>
        </a:prstGeom>
        <a:solidFill>
          <a:schemeClr val="accent6">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b="1" kern="1200" dirty="0"/>
            <a:t>DATA VALIDATION </a:t>
          </a:r>
        </a:p>
      </dsp:txBody>
      <dsp:txXfrm>
        <a:off x="0" y="4078917"/>
        <a:ext cx="8128000" cy="722947"/>
      </dsp:txXfrm>
    </dsp:sp>
    <dsp:sp modelId="{8ACBD7F8-C7BA-4D6F-8992-571D9A1B751A}">
      <dsp:nvSpPr>
        <dsp:cNvPr id="0" name=""/>
        <dsp:cNvSpPr/>
      </dsp:nvSpPr>
      <dsp:spPr>
        <a:xfrm>
          <a:off x="0" y="4775089"/>
          <a:ext cx="4064000" cy="615844"/>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None/>
          </a:pPr>
          <a:r>
            <a:rPr lang="en-US" sz="1500" kern="1200" dirty="0"/>
            <a:t>LEAs </a:t>
          </a:r>
          <a:r>
            <a:rPr lang="en-US" sz="1500" b="0" kern="1200" dirty="0"/>
            <a:t>run </a:t>
          </a:r>
          <a:r>
            <a:rPr lang="en-US" sz="1500" b="1" kern="1200" dirty="0"/>
            <a:t>validation checks </a:t>
          </a:r>
          <a:r>
            <a:rPr lang="en-US" sz="1500" b="0" kern="1200" dirty="0"/>
            <a:t>and resolve issues by </a:t>
          </a:r>
          <a:r>
            <a:rPr lang="en-US" sz="1500" b="1" kern="1200" dirty="0"/>
            <a:t>updating their source system </a:t>
          </a:r>
          <a:r>
            <a:rPr lang="en-US" sz="1500" b="0" kern="1200" dirty="0"/>
            <a:t>data and </a:t>
          </a:r>
          <a:r>
            <a:rPr lang="en-US" sz="1500" b="1" kern="1200" dirty="0"/>
            <a:t>reloading</a:t>
          </a:r>
        </a:p>
      </dsp:txBody>
      <dsp:txXfrm>
        <a:off x="0" y="4775089"/>
        <a:ext cx="4064000" cy="615844"/>
      </dsp:txXfrm>
    </dsp:sp>
    <dsp:sp modelId="{43D1F44D-376E-4CA0-8F8A-D37A6B92C90F}">
      <dsp:nvSpPr>
        <dsp:cNvPr id="0" name=""/>
        <dsp:cNvSpPr/>
      </dsp:nvSpPr>
      <dsp:spPr>
        <a:xfrm>
          <a:off x="4064000" y="4775089"/>
          <a:ext cx="4064000" cy="615844"/>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None/>
          </a:pPr>
          <a:r>
            <a:rPr lang="en-US" sz="1500" kern="1200" dirty="0"/>
            <a:t>LEAs run </a:t>
          </a:r>
          <a:r>
            <a:rPr lang="en-US" sz="1500" b="1" kern="1200" dirty="0"/>
            <a:t>validation reports </a:t>
          </a:r>
          <a:r>
            <a:rPr lang="en-US" sz="1500" kern="1200" dirty="0"/>
            <a:t>to ensure </a:t>
          </a:r>
          <a:r>
            <a:rPr lang="en-US" sz="1500" b="1" kern="1200" dirty="0"/>
            <a:t>data</a:t>
          </a:r>
          <a:r>
            <a:rPr lang="en-US" sz="1500" kern="1200" dirty="0"/>
            <a:t> </a:t>
          </a:r>
          <a:r>
            <a:rPr lang="en-US" sz="1500" b="1" kern="1200" dirty="0"/>
            <a:t>accuracy</a:t>
          </a:r>
          <a:r>
            <a:rPr lang="en-US" sz="1500" kern="1200" dirty="0"/>
            <a:t> and verify the data collection</a:t>
          </a:r>
        </a:p>
      </dsp:txBody>
      <dsp:txXfrm>
        <a:off x="4064000" y="4775089"/>
        <a:ext cx="4064000" cy="615844"/>
      </dsp:txXfrm>
    </dsp:sp>
    <dsp:sp modelId="{AF66379D-0F4D-4E19-900F-9DD2B7BA06BB}">
      <dsp:nvSpPr>
        <dsp:cNvPr id="0" name=""/>
        <dsp:cNvSpPr/>
      </dsp:nvSpPr>
      <dsp:spPr>
        <a:xfrm rot="10800000">
          <a:off x="0" y="2039937"/>
          <a:ext cx="8128000" cy="2059061"/>
        </a:xfrm>
        <a:prstGeom prst="upArrowCallout">
          <a:avLst/>
        </a:prstGeom>
        <a:solidFill>
          <a:schemeClr val="accent6">
            <a:shade val="80000"/>
            <a:hueOff val="382321"/>
            <a:satOff val="-44076"/>
            <a:lumOff val="2169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b="1" kern="1200" dirty="0"/>
            <a:t>DATA PROMOTION</a:t>
          </a:r>
        </a:p>
      </dsp:txBody>
      <dsp:txXfrm rot="-10800000">
        <a:off x="0" y="2039937"/>
        <a:ext cx="8128000" cy="722730"/>
      </dsp:txXfrm>
    </dsp:sp>
    <dsp:sp modelId="{688C9203-8A5C-4653-AB64-6AACDDE8291C}">
      <dsp:nvSpPr>
        <dsp:cNvPr id="0" name=""/>
        <dsp:cNvSpPr/>
      </dsp:nvSpPr>
      <dsp:spPr>
        <a:xfrm>
          <a:off x="0" y="2762668"/>
          <a:ext cx="4064000" cy="615659"/>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ClrTx/>
            <a:buSzTx/>
            <a:buFontTx/>
            <a:buNone/>
          </a:pPr>
          <a:r>
            <a:rPr lang="en-US" sz="1500" kern="1200" dirty="0">
              <a:solidFill>
                <a:prstClr val="black">
                  <a:hueOff val="0"/>
                  <a:satOff val="0"/>
                  <a:lumOff val="0"/>
                  <a:alphaOff val="0"/>
                </a:prstClr>
              </a:solidFill>
              <a:latin typeface="Calibri" panose="020F0502020204030204"/>
              <a:ea typeface="+mn-ea"/>
              <a:cs typeface="+mn-cs"/>
            </a:rPr>
            <a:t>LEAs </a:t>
          </a:r>
          <a:r>
            <a:rPr lang="en-US" sz="1500" b="1" kern="1200" dirty="0">
              <a:solidFill>
                <a:prstClr val="black">
                  <a:hueOff val="0"/>
                  <a:satOff val="0"/>
                  <a:lumOff val="0"/>
                  <a:alphaOff val="0"/>
                </a:prstClr>
              </a:solidFill>
              <a:latin typeface="Calibri" panose="020F0502020204030204"/>
              <a:ea typeface="+mn-ea"/>
              <a:cs typeface="+mn-cs"/>
            </a:rPr>
            <a:t>promote data </a:t>
          </a:r>
          <a:r>
            <a:rPr lang="en-US" sz="1500" kern="1200" dirty="0">
              <a:solidFill>
                <a:prstClr val="black">
                  <a:hueOff val="0"/>
                  <a:satOff val="0"/>
                  <a:lumOff val="0"/>
                  <a:alphaOff val="0"/>
                </a:prstClr>
              </a:solidFill>
              <a:latin typeface="Calibri" panose="020F0502020204030204"/>
              <a:ea typeface="+mn-ea"/>
              <a:cs typeface="+mn-cs"/>
            </a:rPr>
            <a:t>from the ODS to the TSDS data marts for a specific collection</a:t>
          </a:r>
        </a:p>
      </dsp:txBody>
      <dsp:txXfrm>
        <a:off x="0" y="2762668"/>
        <a:ext cx="4064000" cy="615659"/>
      </dsp:txXfrm>
    </dsp:sp>
    <dsp:sp modelId="{B7EF99A6-46CD-497E-AE59-75F978248A52}">
      <dsp:nvSpPr>
        <dsp:cNvPr id="0" name=""/>
        <dsp:cNvSpPr/>
      </dsp:nvSpPr>
      <dsp:spPr>
        <a:xfrm>
          <a:off x="4064000" y="2762668"/>
          <a:ext cx="4064000" cy="615659"/>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None/>
          </a:pPr>
          <a:r>
            <a:rPr lang="en-US" sz="1500" kern="1200" dirty="0"/>
            <a:t>LEAs </a:t>
          </a:r>
          <a:r>
            <a:rPr lang="en-US" sz="1500" b="1" kern="1200" dirty="0"/>
            <a:t>resolve any issues </a:t>
          </a:r>
          <a:r>
            <a:rPr lang="en-US" sz="1500" kern="1200" dirty="0"/>
            <a:t>preventing data from being promoted and ensure data completeness</a:t>
          </a:r>
        </a:p>
      </dsp:txBody>
      <dsp:txXfrm>
        <a:off x="4064000" y="2762668"/>
        <a:ext cx="4064000" cy="615659"/>
      </dsp:txXfrm>
    </dsp:sp>
    <dsp:sp modelId="{02485D3C-D9BC-4773-A867-4F3A70399E43}">
      <dsp:nvSpPr>
        <dsp:cNvPr id="0" name=""/>
        <dsp:cNvSpPr/>
      </dsp:nvSpPr>
      <dsp:spPr>
        <a:xfrm rot="10800000">
          <a:off x="0" y="957"/>
          <a:ext cx="8128000" cy="2059061"/>
        </a:xfrm>
        <a:prstGeom prst="upArrowCallout">
          <a:avLst/>
        </a:prstGeom>
        <a:solidFill>
          <a:schemeClr val="accent6">
            <a:shade val="80000"/>
            <a:hueOff val="764642"/>
            <a:satOff val="-88151"/>
            <a:lumOff val="433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r>
            <a:rPr lang="en-US" sz="3600" b="1" kern="1200" dirty="0"/>
            <a:t>DATA LOADING </a:t>
          </a:r>
        </a:p>
      </dsp:txBody>
      <dsp:txXfrm rot="-10800000">
        <a:off x="0" y="957"/>
        <a:ext cx="8128000" cy="722730"/>
      </dsp:txXfrm>
    </dsp:sp>
    <dsp:sp modelId="{8A8C8043-FFBA-4A28-AB72-DB524C670959}">
      <dsp:nvSpPr>
        <dsp:cNvPr id="0" name=""/>
        <dsp:cNvSpPr/>
      </dsp:nvSpPr>
      <dsp:spPr>
        <a:xfrm>
          <a:off x="0" y="723688"/>
          <a:ext cx="4064000" cy="615659"/>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None/>
          </a:pPr>
          <a:r>
            <a:rPr lang="en-US" sz="1500" kern="1200" dirty="0"/>
            <a:t>LEAs extract data from their source systems in </a:t>
          </a:r>
          <a:r>
            <a:rPr lang="en-US" sz="1500" b="1" kern="1200" dirty="0"/>
            <a:t>eXtensible Markup Language (XML)  </a:t>
          </a:r>
          <a:r>
            <a:rPr lang="en-US" sz="1500" kern="1200" dirty="0"/>
            <a:t>format</a:t>
          </a:r>
        </a:p>
      </dsp:txBody>
      <dsp:txXfrm>
        <a:off x="0" y="723688"/>
        <a:ext cx="4064000" cy="615659"/>
      </dsp:txXfrm>
    </dsp:sp>
    <dsp:sp modelId="{45BE7F73-EEF5-4764-9284-5B93672CE7CA}">
      <dsp:nvSpPr>
        <dsp:cNvPr id="0" name=""/>
        <dsp:cNvSpPr/>
      </dsp:nvSpPr>
      <dsp:spPr>
        <a:xfrm>
          <a:off x="4064000" y="723688"/>
          <a:ext cx="4064000" cy="615659"/>
        </a:xfrm>
        <a:prstGeom prst="rect">
          <a:avLst/>
        </a:prstGeom>
        <a:solidFill>
          <a:schemeClr val="accent6">
            <a:alpha val="90000"/>
            <a:tint val="40000"/>
            <a:hueOff val="0"/>
            <a:satOff val="0"/>
            <a:lumOff val="0"/>
            <a:alphaOff val="0"/>
          </a:schemeClr>
        </a:solidFill>
        <a:ln w="12700" cap="flat" cmpd="sng" algn="ctr">
          <a:solidFill>
            <a:schemeClr val="accent6">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9050" rIns="106680" bIns="19050" numCol="1" spcCol="1270" anchor="ctr" anchorCtr="0">
          <a:noAutofit/>
        </a:bodyPr>
        <a:lstStyle/>
        <a:p>
          <a:pPr marL="0" lvl="0" indent="0" algn="l" defTabSz="666750">
            <a:lnSpc>
              <a:spcPct val="90000"/>
            </a:lnSpc>
            <a:spcBef>
              <a:spcPct val="0"/>
            </a:spcBef>
            <a:spcAft>
              <a:spcPct val="35000"/>
            </a:spcAft>
            <a:buNone/>
          </a:pPr>
          <a:r>
            <a:rPr lang="en-US" sz="1500" kern="1200" dirty="0"/>
            <a:t>LEAs </a:t>
          </a:r>
          <a:r>
            <a:rPr lang="en-US" sz="1500" b="1" kern="1200" dirty="0"/>
            <a:t>manually load </a:t>
          </a:r>
          <a:r>
            <a:rPr lang="en-US" sz="1500" kern="1200" dirty="0"/>
            <a:t>the XML files for </a:t>
          </a:r>
          <a:r>
            <a:rPr lang="en-US" sz="1500" b="1" kern="1200" dirty="0"/>
            <a:t>each data collection </a:t>
          </a:r>
          <a:r>
            <a:rPr lang="en-US" sz="1500" kern="1200" dirty="0"/>
            <a:t>into the Operation Data Store (ODS). </a:t>
          </a:r>
        </a:p>
      </dsp:txBody>
      <dsp:txXfrm>
        <a:off x="4064000" y="723688"/>
        <a:ext cx="4064000" cy="615659"/>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CEBC48-F836-44D1-9426-37DF5CA343BE}">
      <dsp:nvSpPr>
        <dsp:cNvPr id="0" name=""/>
        <dsp:cNvSpPr/>
      </dsp:nvSpPr>
      <dsp:spPr>
        <a:xfrm>
          <a:off x="4147" y="156697"/>
          <a:ext cx="1472412" cy="147241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Source System Vendors</a:t>
          </a:r>
        </a:p>
      </dsp:txBody>
      <dsp:txXfrm>
        <a:off x="219777" y="372327"/>
        <a:ext cx="1041152" cy="1041152"/>
      </dsp:txXfrm>
    </dsp:sp>
    <dsp:sp modelId="{9266645E-7C2D-473D-AF0C-713718949583}">
      <dsp:nvSpPr>
        <dsp:cNvPr id="0" name=""/>
        <dsp:cNvSpPr/>
      </dsp:nvSpPr>
      <dsp:spPr>
        <a:xfrm>
          <a:off x="313354" y="1748669"/>
          <a:ext cx="853999" cy="853999"/>
        </a:xfrm>
        <a:prstGeom prst="mathPlus">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426552" y="2075238"/>
        <a:ext cx="627603" cy="200861"/>
      </dsp:txXfrm>
    </dsp:sp>
    <dsp:sp modelId="{796F8AD8-2B55-4719-A171-02DC562FF68A}">
      <dsp:nvSpPr>
        <dsp:cNvPr id="0" name=""/>
        <dsp:cNvSpPr/>
      </dsp:nvSpPr>
      <dsp:spPr>
        <a:xfrm>
          <a:off x="4147" y="2722228"/>
          <a:ext cx="1472412" cy="1472412"/>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29210" tIns="29210" rIns="29210" bIns="29210" numCol="1" spcCol="1270" anchor="ctr" anchorCtr="0">
          <a:noAutofit/>
        </a:bodyPr>
        <a:lstStyle/>
        <a:p>
          <a:pPr marL="0" lvl="0" indent="0" algn="ctr" defTabSz="1022350">
            <a:lnSpc>
              <a:spcPct val="90000"/>
            </a:lnSpc>
            <a:spcBef>
              <a:spcPct val="0"/>
            </a:spcBef>
            <a:spcAft>
              <a:spcPct val="35000"/>
            </a:spcAft>
            <a:buNone/>
          </a:pPr>
          <a:r>
            <a:rPr lang="en-US" sz="2300" kern="1200" dirty="0"/>
            <a:t>Parallel LEAs</a:t>
          </a:r>
        </a:p>
      </dsp:txBody>
      <dsp:txXfrm>
        <a:off x="219777" y="2937858"/>
        <a:ext cx="1041152" cy="1041152"/>
      </dsp:txXfrm>
    </dsp:sp>
    <dsp:sp modelId="{64F149AD-DF5D-484E-8718-DADC631FF62E}">
      <dsp:nvSpPr>
        <dsp:cNvPr id="0" name=""/>
        <dsp:cNvSpPr/>
      </dsp:nvSpPr>
      <dsp:spPr>
        <a:xfrm>
          <a:off x="1697421" y="1901800"/>
          <a:ext cx="468227" cy="547737"/>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dirty="0"/>
        </a:p>
      </dsp:txBody>
      <dsp:txXfrm>
        <a:off x="1697421" y="2011347"/>
        <a:ext cx="327759" cy="328643"/>
      </dsp:txXfrm>
    </dsp:sp>
    <dsp:sp modelId="{7849E603-C27C-49A9-801A-CF6CD7DD0790}">
      <dsp:nvSpPr>
        <dsp:cNvPr id="0" name=""/>
        <dsp:cNvSpPr/>
      </dsp:nvSpPr>
      <dsp:spPr>
        <a:xfrm>
          <a:off x="2360007" y="703256"/>
          <a:ext cx="2944824" cy="2944824"/>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en-US" sz="3800" kern="1200" dirty="0"/>
            <a:t>ODS 3.x Readiness</a:t>
          </a:r>
        </a:p>
      </dsp:txBody>
      <dsp:txXfrm>
        <a:off x="2791266" y="1134515"/>
        <a:ext cx="2082306" cy="208230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18BE6-29E0-478E-ADAA-F9BCA00755CD}">
      <dsp:nvSpPr>
        <dsp:cNvPr id="0" name=""/>
        <dsp:cNvSpPr/>
      </dsp:nvSpPr>
      <dsp:spPr>
        <a:xfrm>
          <a:off x="0" y="5161"/>
          <a:ext cx="5308980" cy="109840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D9E6714-B90C-486F-84EA-6FB8F8760170}">
      <dsp:nvSpPr>
        <dsp:cNvPr id="0" name=""/>
        <dsp:cNvSpPr/>
      </dsp:nvSpPr>
      <dsp:spPr>
        <a:xfrm>
          <a:off x="332268" y="252303"/>
          <a:ext cx="604715" cy="604124"/>
        </a:xfrm>
        <a:prstGeom prst="rect">
          <a:avLst/>
        </a:prstGeom>
        <a:blipFill rotWithShape="1">
          <a:blip xmlns:r="http://schemas.openxmlformats.org/officeDocument/2006/relationships" r:embed="rId1">
            <a:duotone>
              <a:srgbClr val="0D6CB9">
                <a:shade val="45000"/>
                <a:satMod val="135000"/>
              </a:srgbClr>
              <a:prstClr val="white"/>
            </a:duotone>
            <a:extLst>
              <a:ext uri="{28A0092B-C50C-407E-A947-70E740481C1C}">
                <a14:useLocalDpi xmlns:a14="http://schemas.microsoft.com/office/drawing/2010/main" val="0"/>
              </a:ext>
            </a:extLst>
          </a:blip>
          <a:srcRect/>
          <a:stretch>
            <a:fillRect l="-16000" r="-1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1C03B9-0EA4-47EC-96AC-E50056961504}">
      <dsp:nvSpPr>
        <dsp:cNvPr id="0" name=""/>
        <dsp:cNvSpPr/>
      </dsp:nvSpPr>
      <dsp:spPr>
        <a:xfrm>
          <a:off x="1269252" y="5161"/>
          <a:ext cx="3982386" cy="1201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147" tIns="127147" rIns="127147" bIns="127147" numCol="1" spcCol="1270" anchor="t" anchorCtr="0">
          <a:noAutofit/>
        </a:bodyPr>
        <a:lstStyle/>
        <a:p>
          <a:pPr marL="0" lvl="0" indent="0" algn="l" defTabSz="800100">
            <a:lnSpc>
              <a:spcPct val="100000"/>
            </a:lnSpc>
            <a:spcBef>
              <a:spcPct val="0"/>
            </a:spcBef>
            <a:spcAft>
              <a:spcPct val="35000"/>
            </a:spcAft>
            <a:buNone/>
          </a:pPr>
          <a:r>
            <a:rPr lang="en-US" sz="1800" kern="1200" dirty="0"/>
            <a:t>LEAs submit TSDS data through </a:t>
          </a:r>
          <a:r>
            <a:rPr lang="en-US" sz="1800" b="1" kern="1200" dirty="0"/>
            <a:t>API transactions, rather than XML </a:t>
          </a:r>
          <a:r>
            <a:rPr lang="en-US" sz="1800" kern="1200" dirty="0"/>
            <a:t>and review business validations locally.</a:t>
          </a:r>
        </a:p>
      </dsp:txBody>
      <dsp:txXfrm>
        <a:off x="1269252" y="5161"/>
        <a:ext cx="3982386" cy="1201384"/>
      </dsp:txXfrm>
    </dsp:sp>
    <dsp:sp modelId="{D9196AF9-7D27-4D5F-AD70-40915B758B67}">
      <dsp:nvSpPr>
        <dsp:cNvPr id="0" name=""/>
        <dsp:cNvSpPr/>
      </dsp:nvSpPr>
      <dsp:spPr>
        <a:xfrm>
          <a:off x="0" y="1515053"/>
          <a:ext cx="5308980" cy="109840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9C8D17-6300-4660-A1F1-6A9892CE9041}">
      <dsp:nvSpPr>
        <dsp:cNvPr id="0" name=""/>
        <dsp:cNvSpPr/>
      </dsp:nvSpPr>
      <dsp:spPr>
        <a:xfrm>
          <a:off x="332268" y="1754034"/>
          <a:ext cx="604715" cy="604124"/>
        </a:xfrm>
        <a:prstGeom prst="rect">
          <a:avLst/>
        </a:prstGeom>
        <a:blipFill rotWithShape="1">
          <a:blip xmlns:r="http://schemas.openxmlformats.org/officeDocument/2006/relationships" r:embed="rId2">
            <a:duotone>
              <a:srgbClr val="4472C4">
                <a:shade val="45000"/>
                <a:satMod val="135000"/>
              </a:srgbClr>
              <a:prstClr val="white"/>
            </a:duotone>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C1CA29-D1F2-4AF4-BAE8-54B79C36E48B}">
      <dsp:nvSpPr>
        <dsp:cNvPr id="0" name=""/>
        <dsp:cNvSpPr/>
      </dsp:nvSpPr>
      <dsp:spPr>
        <a:xfrm>
          <a:off x="1269252" y="1506892"/>
          <a:ext cx="3982386" cy="1201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147" tIns="127147" rIns="127147" bIns="127147" numCol="1" spcCol="1270" anchor="ctr" anchorCtr="0">
          <a:noAutofit/>
        </a:bodyPr>
        <a:lstStyle/>
        <a:p>
          <a:pPr marL="0" lvl="0" indent="0" algn="l" defTabSz="800100">
            <a:lnSpc>
              <a:spcPct val="100000"/>
            </a:lnSpc>
            <a:spcBef>
              <a:spcPct val="0"/>
            </a:spcBef>
            <a:spcAft>
              <a:spcPct val="35000"/>
            </a:spcAft>
            <a:buNone/>
          </a:pPr>
          <a:r>
            <a:rPr lang="en-US" sz="1800" kern="1200" dirty="0"/>
            <a:t>LEAs will be provided their </a:t>
          </a:r>
          <a:r>
            <a:rPr lang="en-US" sz="1800" b="1" kern="1200" dirty="0"/>
            <a:t>own Ed-Fi ODS (Landing Zone) </a:t>
          </a:r>
          <a:r>
            <a:rPr lang="en-US" sz="1800" kern="1200" dirty="0"/>
            <a:t>for local validations and reporting.</a:t>
          </a:r>
        </a:p>
      </dsp:txBody>
      <dsp:txXfrm>
        <a:off x="1269252" y="1506892"/>
        <a:ext cx="3982386" cy="1201384"/>
      </dsp:txXfrm>
    </dsp:sp>
    <dsp:sp modelId="{32EC2B26-DC2E-4184-8BE4-1344C879720C}">
      <dsp:nvSpPr>
        <dsp:cNvPr id="0" name=""/>
        <dsp:cNvSpPr/>
      </dsp:nvSpPr>
      <dsp:spPr>
        <a:xfrm>
          <a:off x="0" y="3008622"/>
          <a:ext cx="5308980" cy="109840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F82FCC2-9709-4FF9-B7EE-DCC0E54A822B}">
      <dsp:nvSpPr>
        <dsp:cNvPr id="0" name=""/>
        <dsp:cNvSpPr/>
      </dsp:nvSpPr>
      <dsp:spPr>
        <a:xfrm>
          <a:off x="332268" y="3255764"/>
          <a:ext cx="604715" cy="604124"/>
        </a:xfrm>
        <a:prstGeom prst="rect">
          <a:avLst/>
        </a:prstGeom>
        <a:blipFill>
          <a:blip xmlns:r="http://schemas.openxmlformats.org/officeDocument/2006/relationships" r:embed="rId4">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BAA57D8-9CE0-4C36-89AA-832F4B221456}">
      <dsp:nvSpPr>
        <dsp:cNvPr id="0" name=""/>
        <dsp:cNvSpPr/>
      </dsp:nvSpPr>
      <dsp:spPr>
        <a:xfrm>
          <a:off x="1269252" y="3008622"/>
          <a:ext cx="3982386" cy="1201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147" tIns="127147" rIns="127147" bIns="127147" numCol="1" spcCol="1270" anchor="t" anchorCtr="0">
          <a:noAutofit/>
        </a:bodyPr>
        <a:lstStyle/>
        <a:p>
          <a:pPr marL="0" lvl="0" indent="0" algn="l" defTabSz="800100">
            <a:lnSpc>
              <a:spcPct val="100000"/>
            </a:lnSpc>
            <a:spcBef>
              <a:spcPct val="0"/>
            </a:spcBef>
            <a:spcAft>
              <a:spcPct val="35000"/>
            </a:spcAft>
            <a:buNone/>
          </a:pPr>
          <a:r>
            <a:rPr lang="en-US" sz="1800" b="0" kern="1200" dirty="0"/>
            <a:t>LEAs</a:t>
          </a:r>
          <a:r>
            <a:rPr lang="en-US" sz="1800" b="1" kern="1200" dirty="0"/>
            <a:t> </a:t>
          </a:r>
          <a:r>
            <a:rPr lang="en-US" sz="1800" b="0" kern="1200" dirty="0"/>
            <a:t>should </a:t>
          </a:r>
          <a:r>
            <a:rPr lang="en-US" sz="1800" b="1" kern="1200" dirty="0"/>
            <a:t>contact their vendors  </a:t>
          </a:r>
          <a:r>
            <a:rPr lang="en-US" sz="1800" kern="1200" dirty="0"/>
            <a:t>to participate in the parallel submission year and ensure vendor readiness. </a:t>
          </a:r>
        </a:p>
      </dsp:txBody>
      <dsp:txXfrm>
        <a:off x="1269252" y="3008622"/>
        <a:ext cx="3982386" cy="1201384"/>
      </dsp:txXfrm>
    </dsp:sp>
    <dsp:sp modelId="{68BD6996-D400-4D00-8693-FA5F10A0358F}">
      <dsp:nvSpPr>
        <dsp:cNvPr id="0" name=""/>
        <dsp:cNvSpPr/>
      </dsp:nvSpPr>
      <dsp:spPr>
        <a:xfrm>
          <a:off x="0" y="4510352"/>
          <a:ext cx="5308980" cy="1098408"/>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4D36D34-F92B-4722-8F1F-C4428A78967E}">
      <dsp:nvSpPr>
        <dsp:cNvPr id="0" name=""/>
        <dsp:cNvSpPr/>
      </dsp:nvSpPr>
      <dsp:spPr>
        <a:xfrm>
          <a:off x="332593" y="4757494"/>
          <a:ext cx="604715" cy="604124"/>
        </a:xfrm>
        <a:prstGeom prst="rect">
          <a:avLst/>
        </a:prstGeom>
        <a:blipFill rotWithShape="1">
          <a:blip xmlns:r="http://schemas.openxmlformats.org/officeDocument/2006/relationships" r:embed="rId6">
            <a:duotone>
              <a:srgbClr val="0D6CB9">
                <a:shade val="45000"/>
                <a:satMod val="135000"/>
              </a:srgbClr>
              <a:prstClr val="white"/>
            </a:duotone>
            <a:extLst>
              <a:ext uri="{BEBA8EAE-BF5A-486C-A8C5-ECC9F3942E4B}">
                <a14:imgProps xmlns:a14="http://schemas.microsoft.com/office/drawing/2010/main">
                  <a14:imgLayer r:embed="rId7">
                    <a14:imgEffect>
                      <a14:saturation sat="240000"/>
                    </a14:imgEffect>
                  </a14:imgLayer>
                </a14:imgProps>
              </a:ext>
              <a:ext uri="{28A0092B-C50C-407E-A947-70E740481C1C}">
                <a14:useLocalDpi xmlns:a14="http://schemas.microsoft.com/office/drawing/2010/main" val="0"/>
              </a:ext>
            </a:extLst>
          </a:blip>
          <a:srcRect/>
          <a:stretch>
            <a:fillRect l="-5000" r="-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6F1691-E7D8-4985-85C7-DABB4EF5F651}">
      <dsp:nvSpPr>
        <dsp:cNvPr id="0" name=""/>
        <dsp:cNvSpPr/>
      </dsp:nvSpPr>
      <dsp:spPr>
        <a:xfrm>
          <a:off x="1269901" y="4510352"/>
          <a:ext cx="3920024" cy="12013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7147" tIns="127147" rIns="127147" bIns="127147" numCol="1" spcCol="1270" anchor="ctr" anchorCtr="0">
          <a:noAutofit/>
        </a:bodyPr>
        <a:lstStyle/>
        <a:p>
          <a:pPr marL="0" lvl="0" indent="0" algn="l" defTabSz="800100">
            <a:lnSpc>
              <a:spcPct val="100000"/>
            </a:lnSpc>
            <a:spcBef>
              <a:spcPct val="0"/>
            </a:spcBef>
            <a:spcAft>
              <a:spcPct val="35000"/>
            </a:spcAft>
            <a:buNone/>
          </a:pPr>
          <a:r>
            <a:rPr lang="en-US" sz="1800" kern="1200" dirty="0"/>
            <a:t>2021-2022 Pilot Program</a:t>
          </a:r>
        </a:p>
        <a:p>
          <a:pPr marL="0" lvl="0" indent="0" algn="l" defTabSz="800100">
            <a:lnSpc>
              <a:spcPct val="100000"/>
            </a:lnSpc>
            <a:spcBef>
              <a:spcPct val="0"/>
            </a:spcBef>
            <a:spcAft>
              <a:spcPct val="35000"/>
            </a:spcAft>
            <a:buNone/>
          </a:pPr>
          <a:r>
            <a:rPr lang="en-US" sz="1800" kern="1200" dirty="0"/>
            <a:t>2022-2023 Parallel Year</a:t>
          </a:r>
        </a:p>
        <a:p>
          <a:pPr marL="0" lvl="0" indent="0" algn="l" defTabSz="800100">
            <a:lnSpc>
              <a:spcPct val="100000"/>
            </a:lnSpc>
            <a:spcBef>
              <a:spcPct val="0"/>
            </a:spcBef>
            <a:spcAft>
              <a:spcPct val="35000"/>
            </a:spcAft>
            <a:buNone/>
          </a:pPr>
          <a:r>
            <a:rPr lang="en-US" sz="1800" b="1" kern="1200" dirty="0"/>
            <a:t>2023-2024 Go-Live</a:t>
          </a:r>
        </a:p>
      </dsp:txBody>
      <dsp:txXfrm>
        <a:off x="1269901" y="4510352"/>
        <a:ext cx="3920024" cy="12013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88A731-5058-44BD-A7BB-A55E0F7FC7A3}">
      <dsp:nvSpPr>
        <dsp:cNvPr id="0" name=""/>
        <dsp:cNvSpPr/>
      </dsp:nvSpPr>
      <dsp:spPr>
        <a:xfrm>
          <a:off x="1876440" y="866"/>
          <a:ext cx="7505761" cy="2734288"/>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5633" tIns="605939" rIns="145633" bIns="605939" numCol="1" spcCol="1270" anchor="ctr" anchorCtr="0">
          <a:noAutofit/>
        </a:bodyPr>
        <a:lstStyle/>
        <a:p>
          <a:pPr marL="0" lvl="0" indent="0" algn="l" defTabSz="1066800">
            <a:lnSpc>
              <a:spcPct val="90000"/>
            </a:lnSpc>
            <a:spcBef>
              <a:spcPct val="0"/>
            </a:spcBef>
            <a:spcAft>
              <a:spcPct val="35000"/>
            </a:spcAft>
            <a:buNone/>
          </a:pPr>
          <a:r>
            <a:rPr lang="en-US" sz="2400" kern="1200" dirty="0"/>
            <a:t>TEA plans to collect attendance data two ways in the 2023-2024 school year:</a:t>
          </a:r>
        </a:p>
        <a:p>
          <a:pPr marL="0" lvl="0" indent="0" algn="l" defTabSz="889000">
            <a:lnSpc>
              <a:spcPct val="90000"/>
            </a:lnSpc>
            <a:spcBef>
              <a:spcPct val="0"/>
            </a:spcBef>
            <a:spcAft>
              <a:spcPct val="35000"/>
            </a:spcAft>
            <a:buFont typeface="+mj-lt"/>
            <a:buNone/>
          </a:pPr>
          <a:r>
            <a:rPr lang="en-US" sz="2000" kern="1200" dirty="0"/>
            <a:t>1. Granular negative attendance by student </a:t>
          </a:r>
          <a:r>
            <a:rPr lang="en-US" sz="2000" b="1" kern="1200" dirty="0"/>
            <a:t>which will eliminate the requirement for SIS vendors to calculate attendance by six-weeks.</a:t>
          </a:r>
          <a:endParaRPr lang="en-US" sz="2000" kern="1200" dirty="0"/>
        </a:p>
        <a:p>
          <a:pPr marL="0" lvl="0" indent="0" algn="l" defTabSz="889000">
            <a:lnSpc>
              <a:spcPct val="90000"/>
            </a:lnSpc>
            <a:spcBef>
              <a:spcPct val="0"/>
            </a:spcBef>
            <a:spcAft>
              <a:spcPct val="35000"/>
            </a:spcAft>
            <a:buFont typeface="+mj-lt"/>
            <a:buNone/>
          </a:pPr>
          <a:r>
            <a:rPr lang="en-US" sz="2000" kern="1200" dirty="0"/>
            <a:t>2. </a:t>
          </a:r>
          <a:r>
            <a:rPr lang="en-US" sz="2000" b="1" kern="1200" dirty="0"/>
            <a:t>Cumulative attendance </a:t>
          </a:r>
          <a:r>
            <a:rPr lang="en-US" sz="2000" kern="1200" dirty="0"/>
            <a:t>by six-weeks by student. (no change from the way attendance is currently collected)</a:t>
          </a:r>
        </a:p>
        <a:p>
          <a:pPr marL="0" lvl="0" indent="0" algn="l" defTabSz="800100">
            <a:lnSpc>
              <a:spcPct val="90000"/>
            </a:lnSpc>
            <a:spcBef>
              <a:spcPct val="0"/>
            </a:spcBef>
            <a:spcAft>
              <a:spcPct val="35000"/>
            </a:spcAft>
            <a:buNone/>
          </a:pPr>
          <a:r>
            <a:rPr lang="en-US" sz="1800" kern="1200" dirty="0"/>
            <a:t>Note: TEA will discontinue collecting cumulative attendance after confirming attendance calculations.</a:t>
          </a:r>
          <a:endParaRPr lang="en-US" sz="600" kern="1200" dirty="0"/>
        </a:p>
      </dsp:txBody>
      <dsp:txXfrm>
        <a:off x="1876440" y="866"/>
        <a:ext cx="7505761" cy="2734288"/>
      </dsp:txXfrm>
    </dsp:sp>
    <dsp:sp modelId="{DD588A61-D217-49F1-A75E-C0D7FA41D6EB}">
      <dsp:nvSpPr>
        <dsp:cNvPr id="0" name=""/>
        <dsp:cNvSpPr/>
      </dsp:nvSpPr>
      <dsp:spPr>
        <a:xfrm>
          <a:off x="0" y="15728"/>
          <a:ext cx="1876440" cy="2704564"/>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295" tIns="235643" rIns="99295" bIns="235643" numCol="1" spcCol="1270" anchor="ctr" anchorCtr="0">
          <a:noAutofit/>
        </a:bodyPr>
        <a:lstStyle/>
        <a:p>
          <a:pPr marL="0" lvl="0" indent="0" algn="ctr" defTabSz="1200150">
            <a:lnSpc>
              <a:spcPct val="90000"/>
            </a:lnSpc>
            <a:spcBef>
              <a:spcPct val="0"/>
            </a:spcBef>
            <a:spcAft>
              <a:spcPct val="35000"/>
            </a:spcAft>
            <a:buNone/>
          </a:pPr>
          <a:r>
            <a:rPr lang="en-US" sz="2700" b="1" kern="1200" dirty="0"/>
            <a:t>Attendance</a:t>
          </a:r>
          <a:endParaRPr lang="en-US" sz="2700" kern="1200" dirty="0"/>
        </a:p>
      </dsp:txBody>
      <dsp:txXfrm>
        <a:off x="0" y="15728"/>
        <a:ext cx="1876440" cy="2704564"/>
      </dsp:txXfrm>
    </dsp:sp>
    <dsp:sp modelId="{8CEAB6B0-7F09-4073-B4BE-C73D1D0EA505}">
      <dsp:nvSpPr>
        <dsp:cNvPr id="0" name=""/>
        <dsp:cNvSpPr/>
      </dsp:nvSpPr>
      <dsp:spPr>
        <a:xfrm>
          <a:off x="1878274" y="2878290"/>
          <a:ext cx="7513098" cy="2385587"/>
        </a:xfrm>
        <a:prstGeom prst="rect">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5775" tIns="605939" rIns="145775" bIns="605939" numCol="1" spcCol="1270" anchor="ctr" anchorCtr="0">
          <a:noAutofit/>
        </a:bodyPr>
        <a:lstStyle/>
        <a:p>
          <a:pPr marL="0" lvl="0" indent="0" algn="l" defTabSz="889000">
            <a:lnSpc>
              <a:spcPct val="90000"/>
            </a:lnSpc>
            <a:spcBef>
              <a:spcPct val="0"/>
            </a:spcBef>
            <a:spcAft>
              <a:spcPct val="35000"/>
            </a:spcAft>
            <a:buNone/>
          </a:pPr>
          <a:r>
            <a:rPr lang="en-US" sz="2000" b="1" kern="1200" dirty="0"/>
            <a:t>Enrollment</a:t>
          </a:r>
          <a:r>
            <a:rPr lang="en-US" sz="2000" kern="1200" dirty="0"/>
            <a:t> and </a:t>
          </a:r>
          <a:r>
            <a:rPr lang="en-US" sz="2000" b="1" kern="1200" dirty="0"/>
            <a:t>withdrawal</a:t>
          </a:r>
          <a:r>
            <a:rPr lang="en-US" sz="2000" kern="1200" dirty="0"/>
            <a:t> data will be collected at the </a:t>
          </a:r>
          <a:r>
            <a:rPr lang="en-US" sz="2000" b="1" kern="1200" dirty="0"/>
            <a:t>student level </a:t>
          </a:r>
          <a:r>
            <a:rPr lang="en-US" sz="2000" kern="1200" dirty="0"/>
            <a:t>in the ODS.  </a:t>
          </a:r>
        </a:p>
        <a:p>
          <a:pPr marL="0" lvl="0" indent="0" algn="l" defTabSz="889000">
            <a:lnSpc>
              <a:spcPct val="90000"/>
            </a:lnSpc>
            <a:spcBef>
              <a:spcPct val="0"/>
            </a:spcBef>
            <a:spcAft>
              <a:spcPct val="35000"/>
            </a:spcAft>
            <a:buNone/>
          </a:pPr>
          <a:r>
            <a:rPr lang="en-US" sz="2000" kern="1200" dirty="0"/>
            <a:t>This data will be sent to the UID Enrollment Tracking application so LEAs will </a:t>
          </a:r>
          <a:r>
            <a:rPr lang="en-US" sz="2000" b="1" kern="1200" dirty="0"/>
            <a:t>no longer have to load this data in the UID system</a:t>
          </a:r>
          <a:r>
            <a:rPr lang="en-US" sz="2000" kern="1200" dirty="0"/>
            <a:t>.</a:t>
          </a:r>
        </a:p>
      </dsp:txBody>
      <dsp:txXfrm>
        <a:off x="1878274" y="2878290"/>
        <a:ext cx="7513098" cy="2385587"/>
      </dsp:txXfrm>
    </dsp:sp>
    <dsp:sp modelId="{8810AC1A-ECCD-4F11-A142-C54230D73ECA}">
      <dsp:nvSpPr>
        <dsp:cNvPr id="0" name=""/>
        <dsp:cNvSpPr/>
      </dsp:nvSpPr>
      <dsp:spPr>
        <a:xfrm>
          <a:off x="0" y="2878290"/>
          <a:ext cx="1878274" cy="2385587"/>
        </a:xfrm>
        <a:prstGeom prst="rect">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392" tIns="235643" rIns="99392" bIns="235643" numCol="1" spcCol="1270" anchor="ctr" anchorCtr="0">
          <a:noAutofit/>
        </a:bodyPr>
        <a:lstStyle/>
        <a:p>
          <a:pPr marL="0" lvl="0" indent="0" algn="ctr" defTabSz="1200150">
            <a:lnSpc>
              <a:spcPct val="90000"/>
            </a:lnSpc>
            <a:spcBef>
              <a:spcPct val="0"/>
            </a:spcBef>
            <a:spcAft>
              <a:spcPct val="35000"/>
            </a:spcAft>
            <a:buNone/>
          </a:pPr>
          <a:r>
            <a:rPr lang="en-US" sz="2700" b="1" kern="1200" dirty="0"/>
            <a:t>Enrollment</a:t>
          </a:r>
          <a:endParaRPr lang="en-US" sz="2700" kern="1200" dirty="0"/>
        </a:p>
      </dsp:txBody>
      <dsp:txXfrm>
        <a:off x="0" y="2878290"/>
        <a:ext cx="1878274" cy="238558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AF0BEB-A42E-4E29-A045-05AD0A90134A}">
      <dsp:nvSpPr>
        <dsp:cNvPr id="0" name=""/>
        <dsp:cNvSpPr/>
      </dsp:nvSpPr>
      <dsp:spPr>
        <a:xfrm>
          <a:off x="0" y="717"/>
          <a:ext cx="7059146" cy="9079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Better alignment to existing Ed-Fi vendor products by being on the </a:t>
          </a:r>
          <a:r>
            <a:rPr lang="en-US" sz="2000" b="1" kern="1200" dirty="0"/>
            <a:t>current version of the Ed-Fi standard</a:t>
          </a:r>
          <a:r>
            <a:rPr lang="en-US" sz="2000" kern="1200" dirty="0"/>
            <a:t>.</a:t>
          </a:r>
        </a:p>
      </dsp:txBody>
      <dsp:txXfrm>
        <a:off x="44322" y="45039"/>
        <a:ext cx="6970502" cy="819298"/>
      </dsp:txXfrm>
    </dsp:sp>
    <dsp:sp modelId="{AD2AEBAC-1CA8-4366-9B76-0A6C2DCC9A28}">
      <dsp:nvSpPr>
        <dsp:cNvPr id="0" name=""/>
        <dsp:cNvSpPr/>
      </dsp:nvSpPr>
      <dsp:spPr>
        <a:xfrm>
          <a:off x="0" y="920345"/>
          <a:ext cx="7059146" cy="9079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More robust validation process earlier in </a:t>
          </a:r>
          <a:r>
            <a:rPr lang="en-US" sz="2000" kern="1200" dirty="0"/>
            <a:t>the data loading process.</a:t>
          </a:r>
        </a:p>
      </dsp:txBody>
      <dsp:txXfrm>
        <a:off x="44322" y="964667"/>
        <a:ext cx="6970502" cy="819298"/>
      </dsp:txXfrm>
    </dsp:sp>
    <dsp:sp modelId="{C9C26CC4-6EF4-4049-AEC2-D71C56A5E648}">
      <dsp:nvSpPr>
        <dsp:cNvPr id="0" name=""/>
        <dsp:cNvSpPr/>
      </dsp:nvSpPr>
      <dsp:spPr>
        <a:xfrm>
          <a:off x="0" y="1839974"/>
          <a:ext cx="7059146" cy="9079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dirty="0"/>
            <a:t>Eliminates bulk load processes </a:t>
          </a:r>
          <a:r>
            <a:rPr lang="en-US" sz="2000" b="0" kern="1200" dirty="0"/>
            <a:t>and requirement for </a:t>
          </a:r>
          <a:r>
            <a:rPr lang="en-US" sz="2000" b="1" kern="1200" dirty="0"/>
            <a:t>vendors </a:t>
          </a:r>
          <a:r>
            <a:rPr lang="en-US" sz="2000" b="0" kern="1200" dirty="0"/>
            <a:t>to</a:t>
          </a:r>
          <a:r>
            <a:rPr lang="en-US" sz="2000" b="1" kern="1200" dirty="0"/>
            <a:t>  </a:t>
          </a:r>
          <a:r>
            <a:rPr lang="en-US" sz="2000" b="0" kern="1200" dirty="0"/>
            <a:t>implement</a:t>
          </a:r>
          <a:r>
            <a:rPr lang="en-US" sz="2000" b="1" kern="1200" dirty="0"/>
            <a:t> logic for data extraction</a:t>
          </a:r>
          <a:r>
            <a:rPr lang="en-US" sz="2000" b="0" kern="1200" dirty="0"/>
            <a:t>. Data will be loaded to ODS </a:t>
          </a:r>
          <a:r>
            <a:rPr lang="en-US" sz="2000" b="1" kern="1200" dirty="0"/>
            <a:t>transactionally</a:t>
          </a:r>
          <a:r>
            <a:rPr lang="en-US" sz="2000" b="0" kern="1200" dirty="0"/>
            <a:t> with APIs.</a:t>
          </a:r>
          <a:endParaRPr lang="en-US" sz="2000" kern="1200" dirty="0"/>
        </a:p>
      </dsp:txBody>
      <dsp:txXfrm>
        <a:off x="44322" y="1884296"/>
        <a:ext cx="6970502" cy="819298"/>
      </dsp:txXfrm>
    </dsp:sp>
    <dsp:sp modelId="{85E0D551-05BD-4EF9-A579-D5C153D0BB7E}">
      <dsp:nvSpPr>
        <dsp:cNvPr id="0" name=""/>
        <dsp:cNvSpPr/>
      </dsp:nvSpPr>
      <dsp:spPr>
        <a:xfrm>
          <a:off x="0" y="2759602"/>
          <a:ext cx="7059146" cy="9079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Elimination of bulk loading will </a:t>
          </a:r>
          <a:r>
            <a:rPr lang="en-US" sz="2000" b="1" kern="1200" dirty="0"/>
            <a:t>resolve current ODS performance issues</a:t>
          </a:r>
          <a:r>
            <a:rPr lang="en-US" sz="2000" kern="1200" dirty="0"/>
            <a:t>.</a:t>
          </a:r>
          <a:endParaRPr lang="en-US" sz="2000" b="1" kern="1200" dirty="0"/>
        </a:p>
      </dsp:txBody>
      <dsp:txXfrm>
        <a:off x="44322" y="2803924"/>
        <a:ext cx="6970502" cy="819298"/>
      </dsp:txXfrm>
    </dsp:sp>
    <dsp:sp modelId="{971206ED-7040-4AD0-A429-F849B53A65F3}">
      <dsp:nvSpPr>
        <dsp:cNvPr id="0" name=""/>
        <dsp:cNvSpPr/>
      </dsp:nvSpPr>
      <dsp:spPr>
        <a:xfrm>
          <a:off x="0" y="3679231"/>
          <a:ext cx="7059146" cy="907942"/>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dirty="0"/>
            <a:t>Each LEA will have a </a:t>
          </a:r>
          <a:r>
            <a:rPr lang="en-US" sz="2000" b="1" kern="1200" dirty="0"/>
            <a:t>Local ODS </a:t>
          </a:r>
          <a:r>
            <a:rPr lang="en-US" sz="2000" kern="1200" dirty="0"/>
            <a:t>that can be </a:t>
          </a:r>
          <a:r>
            <a:rPr lang="en-US" sz="2000" b="1" kern="1200" dirty="0"/>
            <a:t>used for purposes other than state reporting.</a:t>
          </a:r>
          <a:endParaRPr lang="en-US" sz="2000" b="0" kern="1200" dirty="0"/>
        </a:p>
      </dsp:txBody>
      <dsp:txXfrm>
        <a:off x="44322" y="3723553"/>
        <a:ext cx="6970502" cy="81929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A3E711-9DFA-4B1F-BC33-0330BCB50717}">
      <dsp:nvSpPr>
        <dsp:cNvPr id="0" name=""/>
        <dsp:cNvSpPr/>
      </dsp:nvSpPr>
      <dsp:spPr>
        <a:xfrm rot="10800000">
          <a:off x="2199876" y="1249"/>
          <a:ext cx="6952957" cy="1518214"/>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490" tIns="87630" rIns="163576" bIns="87630" numCol="1" spcCol="1270" anchor="ctr" anchorCtr="0">
          <a:noAutofit/>
        </a:bodyPr>
        <a:lstStyle/>
        <a:p>
          <a:pPr marL="0" lvl="0" indent="0" algn="l" defTabSz="1022350">
            <a:lnSpc>
              <a:spcPct val="90000"/>
            </a:lnSpc>
            <a:spcBef>
              <a:spcPct val="0"/>
            </a:spcBef>
            <a:spcAft>
              <a:spcPct val="35000"/>
            </a:spcAft>
            <a:buNone/>
          </a:pPr>
          <a:r>
            <a:rPr lang="en-US" sz="2300" kern="1200" dirty="0"/>
            <a:t>The TSDS ODS 3.x project will provide an Ed-Fi Operational Data Store (ODS) for </a:t>
          </a:r>
          <a:r>
            <a:rPr lang="en-US" sz="2300" b="1" kern="1200" dirty="0"/>
            <a:t>each LEA </a:t>
          </a:r>
          <a:r>
            <a:rPr lang="en-US" sz="2300" kern="1200" dirty="0"/>
            <a:t>to utilize for </a:t>
          </a:r>
          <a:r>
            <a:rPr lang="en-US" sz="2300" b="1" kern="1200" dirty="0"/>
            <a:t>state reporting and local use</a:t>
          </a:r>
          <a:r>
            <a:rPr lang="en-US" sz="2300" kern="1200" dirty="0"/>
            <a:t>.</a:t>
          </a:r>
        </a:p>
      </dsp:txBody>
      <dsp:txXfrm rot="10800000">
        <a:off x="2579429" y="1249"/>
        <a:ext cx="6573404" cy="1518214"/>
      </dsp:txXfrm>
    </dsp:sp>
    <dsp:sp modelId="{CB34D354-6218-4261-8A64-16B6AEC1CF0D}">
      <dsp:nvSpPr>
        <dsp:cNvPr id="0" name=""/>
        <dsp:cNvSpPr/>
      </dsp:nvSpPr>
      <dsp:spPr>
        <a:xfrm>
          <a:off x="674790" y="11437"/>
          <a:ext cx="1518214" cy="1518214"/>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92C23BA-8040-4D71-8B9C-6FF87557FEA4}">
      <dsp:nvSpPr>
        <dsp:cNvPr id="0" name=""/>
        <dsp:cNvSpPr/>
      </dsp:nvSpPr>
      <dsp:spPr>
        <a:xfrm rot="10800000">
          <a:off x="2297357" y="1972662"/>
          <a:ext cx="6822983" cy="1518214"/>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490" tIns="87630" rIns="163576" bIns="87630" numCol="1" spcCol="1270" anchor="ctr" anchorCtr="0">
          <a:noAutofit/>
        </a:bodyPr>
        <a:lstStyle/>
        <a:p>
          <a:pPr marL="0" lvl="0" indent="0" algn="l" defTabSz="1022350">
            <a:lnSpc>
              <a:spcPct val="90000"/>
            </a:lnSpc>
            <a:spcBef>
              <a:spcPct val="0"/>
            </a:spcBef>
            <a:spcAft>
              <a:spcPct val="35000"/>
            </a:spcAft>
            <a:buNone/>
          </a:pPr>
          <a:r>
            <a:rPr lang="en-US" sz="2300" kern="1200" dirty="0"/>
            <a:t>This project will allow source system vendors the ability to publish </a:t>
          </a:r>
          <a:r>
            <a:rPr lang="en-US" sz="2300" b="1" kern="1200" dirty="0"/>
            <a:t>transactional data </a:t>
          </a:r>
          <a:r>
            <a:rPr lang="en-US" sz="2300" kern="1200" dirty="0"/>
            <a:t>to an LEA’s Landing Zone (ODS) </a:t>
          </a:r>
          <a:r>
            <a:rPr lang="en-US" sz="2300" b="1" kern="1200" dirty="0"/>
            <a:t>beyond the reporting requirements of TSDS.</a:t>
          </a:r>
        </a:p>
      </dsp:txBody>
      <dsp:txXfrm rot="10800000">
        <a:off x="2676910" y="1972662"/>
        <a:ext cx="6443430" cy="1518214"/>
      </dsp:txXfrm>
    </dsp:sp>
    <dsp:sp modelId="{61A86C2A-FABB-48A9-B1DD-FD520861A85E}">
      <dsp:nvSpPr>
        <dsp:cNvPr id="0" name=""/>
        <dsp:cNvSpPr/>
      </dsp:nvSpPr>
      <dsp:spPr>
        <a:xfrm>
          <a:off x="775846" y="1904084"/>
          <a:ext cx="1518214" cy="1518214"/>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A5207A-0D08-4DFC-84FF-FBE49DD580AC}">
      <dsp:nvSpPr>
        <dsp:cNvPr id="0" name=""/>
        <dsp:cNvSpPr/>
      </dsp:nvSpPr>
      <dsp:spPr>
        <a:xfrm rot="10800000">
          <a:off x="2148213" y="3944075"/>
          <a:ext cx="7021842" cy="1518214"/>
        </a:xfrm>
        <a:prstGeom prst="homePlat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69490" tIns="87630" rIns="163576" bIns="87630" numCol="1" spcCol="1270" anchor="ctr" anchorCtr="0">
          <a:noAutofit/>
        </a:bodyPr>
        <a:lstStyle/>
        <a:p>
          <a:pPr marL="0" lvl="0" indent="0" algn="l" defTabSz="1022350" rtl="0">
            <a:lnSpc>
              <a:spcPct val="90000"/>
            </a:lnSpc>
            <a:spcBef>
              <a:spcPct val="0"/>
            </a:spcBef>
            <a:spcAft>
              <a:spcPct val="35000"/>
            </a:spcAft>
            <a:buNone/>
          </a:pPr>
          <a:r>
            <a:rPr lang="en-US" sz="2300" kern="1200" dirty="0"/>
            <a:t>Logic will be implemented in the </a:t>
          </a:r>
          <a:r>
            <a:rPr lang="en-US" sz="2300" b="1" kern="1200" dirty="0"/>
            <a:t>LEA’s Landing Zone</a:t>
          </a:r>
          <a:r>
            <a:rPr lang="en-US" sz="2300" kern="1200" dirty="0"/>
            <a:t> to ensure </a:t>
          </a:r>
          <a:r>
            <a:rPr lang="en-US" sz="2300" b="1" kern="1200" dirty="0"/>
            <a:t>only the state mandated data is reported to TEA’s </a:t>
          </a:r>
          <a:r>
            <a:rPr lang="en-US" sz="2300" b="1" kern="1200" dirty="0">
              <a:latin typeface="Calibri Light" panose="020F0302020204030204"/>
            </a:rPr>
            <a:t>Transition </a:t>
          </a:r>
          <a:r>
            <a:rPr lang="en-US" sz="2300" b="1" kern="1200" dirty="0"/>
            <a:t>Zone (ODS) </a:t>
          </a:r>
          <a:r>
            <a:rPr lang="en-US" sz="2300" kern="1200" dirty="0"/>
            <a:t>and utilized for TSDS data submissions.</a:t>
          </a:r>
          <a:r>
            <a:rPr lang="en-US" sz="2300" kern="1200" dirty="0">
              <a:latin typeface="Calibri Light" panose="020F0302020204030204"/>
            </a:rPr>
            <a:t> </a:t>
          </a:r>
          <a:endParaRPr lang="en-US" sz="2300" kern="1200" dirty="0"/>
        </a:p>
      </dsp:txBody>
      <dsp:txXfrm rot="10800000">
        <a:off x="2527766" y="3944075"/>
        <a:ext cx="6642289" cy="1518214"/>
      </dsp:txXfrm>
    </dsp:sp>
    <dsp:sp modelId="{400AE9F5-9101-4EA8-B1C0-36E59CDAE8AE}">
      <dsp:nvSpPr>
        <dsp:cNvPr id="0" name=""/>
        <dsp:cNvSpPr/>
      </dsp:nvSpPr>
      <dsp:spPr>
        <a:xfrm>
          <a:off x="654077" y="3886930"/>
          <a:ext cx="1518214" cy="1518214"/>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A8ABFD-3C58-4694-BC19-8E513D1C9C8E}">
      <dsp:nvSpPr>
        <dsp:cNvPr id="0" name=""/>
        <dsp:cNvSpPr/>
      </dsp:nvSpPr>
      <dsp:spPr>
        <a:xfrm>
          <a:off x="1703423" y="0"/>
          <a:ext cx="2452441" cy="2452814"/>
        </a:xfrm>
        <a:prstGeom prst="circularArrow">
          <a:avLst>
            <a:gd name="adj1" fmla="val 10980"/>
            <a:gd name="adj2" fmla="val 1142322"/>
            <a:gd name="adj3" fmla="val 4500000"/>
            <a:gd name="adj4" fmla="val 108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4EC470B-1382-489F-A8B0-244665BDDAE2}">
      <dsp:nvSpPr>
        <dsp:cNvPr id="0" name=""/>
        <dsp:cNvSpPr/>
      </dsp:nvSpPr>
      <dsp:spPr>
        <a:xfrm>
          <a:off x="2245493" y="885540"/>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Pilot</a:t>
          </a:r>
        </a:p>
      </dsp:txBody>
      <dsp:txXfrm>
        <a:off x="2245493" y="885540"/>
        <a:ext cx="1362774" cy="681224"/>
      </dsp:txXfrm>
    </dsp:sp>
    <dsp:sp modelId="{B0BEA868-E43A-4406-81A1-B84B200AF42E}">
      <dsp:nvSpPr>
        <dsp:cNvPr id="0" name=""/>
        <dsp:cNvSpPr/>
      </dsp:nvSpPr>
      <dsp:spPr>
        <a:xfrm>
          <a:off x="1022266" y="1409324"/>
          <a:ext cx="2452441" cy="2452814"/>
        </a:xfrm>
        <a:prstGeom prst="leftCircularArrow">
          <a:avLst>
            <a:gd name="adj1" fmla="val 10980"/>
            <a:gd name="adj2" fmla="val 1142322"/>
            <a:gd name="adj3" fmla="val 6300000"/>
            <a:gd name="adj4" fmla="val 18900000"/>
            <a:gd name="adj5" fmla="val 125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4261236-88B9-4884-8BF9-7C2D6CB7575A}">
      <dsp:nvSpPr>
        <dsp:cNvPr id="0" name=""/>
        <dsp:cNvSpPr/>
      </dsp:nvSpPr>
      <dsp:spPr>
        <a:xfrm>
          <a:off x="1567100" y="2303016"/>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Parallel</a:t>
          </a:r>
        </a:p>
      </dsp:txBody>
      <dsp:txXfrm>
        <a:off x="1567100" y="2303016"/>
        <a:ext cx="1362774" cy="681224"/>
      </dsp:txXfrm>
    </dsp:sp>
    <dsp:sp modelId="{5C6614B3-6F8F-4A77-8220-DBE18686C55E}">
      <dsp:nvSpPr>
        <dsp:cNvPr id="0" name=""/>
        <dsp:cNvSpPr/>
      </dsp:nvSpPr>
      <dsp:spPr>
        <a:xfrm>
          <a:off x="1877973" y="2987298"/>
          <a:ext cx="2107027" cy="2107871"/>
        </a:xfrm>
        <a:prstGeom prst="blockArc">
          <a:avLst>
            <a:gd name="adj1" fmla="val 13500000"/>
            <a:gd name="adj2" fmla="val 10800000"/>
            <a:gd name="adj3" fmla="val 1274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FC7CD17-41AB-4627-8123-DB522EC9DD5E}">
      <dsp:nvSpPr>
        <dsp:cNvPr id="0" name=""/>
        <dsp:cNvSpPr/>
      </dsp:nvSpPr>
      <dsp:spPr>
        <a:xfrm>
          <a:off x="2248717" y="3722531"/>
          <a:ext cx="1362774" cy="6812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1511300">
            <a:lnSpc>
              <a:spcPct val="90000"/>
            </a:lnSpc>
            <a:spcBef>
              <a:spcPct val="0"/>
            </a:spcBef>
            <a:spcAft>
              <a:spcPct val="35000"/>
            </a:spcAft>
            <a:buNone/>
          </a:pPr>
          <a:r>
            <a:rPr lang="en-US" sz="3400" kern="1200" dirty="0"/>
            <a:t>Go Live</a:t>
          </a:r>
        </a:p>
      </dsp:txBody>
      <dsp:txXfrm>
        <a:off x="2248717" y="3722531"/>
        <a:ext cx="1362774" cy="68122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2AB85E-898A-4E83-835D-880E09D4E6A2}">
      <dsp:nvSpPr>
        <dsp:cNvPr id="0" name=""/>
        <dsp:cNvSpPr/>
      </dsp:nvSpPr>
      <dsp:spPr>
        <a:xfrm>
          <a:off x="2262"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EIMS FALL</a:t>
          </a:r>
        </a:p>
      </dsp:txBody>
      <dsp:txXfrm>
        <a:off x="334765" y="588548"/>
        <a:ext cx="1605465" cy="1605465"/>
      </dsp:txXfrm>
    </dsp:sp>
    <dsp:sp modelId="{6E64889D-2441-4570-9202-7173AB3F23A6}">
      <dsp:nvSpPr>
        <dsp:cNvPr id="0" name=""/>
        <dsp:cNvSpPr/>
      </dsp:nvSpPr>
      <dsp:spPr>
        <a:xfrm>
          <a:off x="1818639"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dirty="0"/>
            <a:t>CLASS ROSTER FALL</a:t>
          </a:r>
        </a:p>
      </dsp:txBody>
      <dsp:txXfrm>
        <a:off x="2151142" y="588548"/>
        <a:ext cx="1605465" cy="1605465"/>
      </dsp:txXfrm>
    </dsp:sp>
    <dsp:sp modelId="{73284AC2-CA96-4B68-9269-5F6234604AC4}">
      <dsp:nvSpPr>
        <dsp:cNvPr id="0" name=""/>
        <dsp:cNvSpPr/>
      </dsp:nvSpPr>
      <dsp:spPr>
        <a:xfrm>
          <a:off x="3635016"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dirty="0"/>
            <a:t>CLASS ROSTER WINTER</a:t>
          </a:r>
        </a:p>
      </dsp:txBody>
      <dsp:txXfrm>
        <a:off x="3967519" y="588548"/>
        <a:ext cx="1605465" cy="1605465"/>
      </dsp:txXfrm>
    </dsp:sp>
    <dsp:sp modelId="{30E8C6C7-476C-4C81-9BC6-76A317DD71A9}">
      <dsp:nvSpPr>
        <dsp:cNvPr id="0" name=""/>
        <dsp:cNvSpPr/>
      </dsp:nvSpPr>
      <dsp:spPr>
        <a:xfrm>
          <a:off x="5451393" y="256045"/>
          <a:ext cx="2270471" cy="2270471"/>
        </a:xfrm>
        <a:prstGeom prst="ellipse">
          <a:avLst/>
        </a:prstGeom>
        <a:solidFill>
          <a:schemeClr val="accent1">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24952" tIns="40640" rIns="124952" bIns="40640" numCol="1" spcCol="1270" anchor="ctr" anchorCtr="0">
          <a:noAutofit/>
        </a:bodyPr>
        <a:lstStyle/>
        <a:p>
          <a:pPr marL="0" lvl="0" indent="0" algn="ctr" defTabSz="1422400">
            <a:lnSpc>
              <a:spcPct val="90000"/>
            </a:lnSpc>
            <a:spcBef>
              <a:spcPct val="0"/>
            </a:spcBef>
            <a:spcAft>
              <a:spcPct val="35000"/>
            </a:spcAft>
            <a:buNone/>
          </a:pPr>
          <a:r>
            <a:rPr lang="en-US" sz="3200" kern="1200" dirty="0"/>
            <a:t>CHILD FIND</a:t>
          </a:r>
        </a:p>
      </dsp:txBody>
      <dsp:txXfrm>
        <a:off x="5783896" y="588548"/>
        <a:ext cx="1605465" cy="1605465"/>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09C5F-8810-49F2-9223-E6626383CC20}">
      <dsp:nvSpPr>
        <dsp:cNvPr id="0" name=""/>
        <dsp:cNvSpPr/>
      </dsp:nvSpPr>
      <dsp:spPr>
        <a:xfrm>
          <a:off x="0" y="0"/>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PowerSchool</a:t>
          </a:r>
        </a:p>
        <a:p>
          <a:pPr marL="0" lvl="0" indent="0" algn="l" defTabSz="1422400">
            <a:lnSpc>
              <a:spcPct val="90000"/>
            </a:lnSpc>
            <a:spcBef>
              <a:spcPct val="0"/>
            </a:spcBef>
            <a:spcAft>
              <a:spcPct val="35000"/>
            </a:spcAft>
            <a:buNone/>
          </a:pPr>
          <a:r>
            <a:rPr lang="en-US" sz="2000" kern="1200" dirty="0"/>
            <a:t>August 2021</a:t>
          </a:r>
        </a:p>
      </dsp:txBody>
      <dsp:txXfrm>
        <a:off x="1004632" y="0"/>
        <a:ext cx="3338632" cy="1359793"/>
      </dsp:txXfrm>
    </dsp:sp>
    <dsp:sp modelId="{74DA1E13-B319-46EF-8E75-AF4EEE1DD1B2}">
      <dsp:nvSpPr>
        <dsp:cNvPr id="0" name=""/>
        <dsp:cNvSpPr/>
      </dsp:nvSpPr>
      <dsp:spPr>
        <a:xfrm>
          <a:off x="135979" y="135979"/>
          <a:ext cx="868653" cy="1087834"/>
        </a:xfrm>
        <a:prstGeom prst="roundRect">
          <a:avLst>
            <a:gd name="adj" fmla="val 10000"/>
          </a:avLst>
        </a:prstGeom>
        <a:blipFill>
          <a:blip xmlns:r="http://schemas.openxmlformats.org/officeDocument/2006/relationships" r:embed="rId1"/>
          <a:srcRect/>
          <a:stretch>
            <a:fillRect l="-7000" r="-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3DB70B-BD20-4FC6-B27B-E191E61EBBCD}">
      <dsp:nvSpPr>
        <dsp:cNvPr id="0" name=""/>
        <dsp:cNvSpPr/>
      </dsp:nvSpPr>
      <dsp:spPr>
        <a:xfrm>
          <a:off x="0" y="1495772"/>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eries </a:t>
          </a:r>
        </a:p>
        <a:p>
          <a:pPr marL="0" lvl="0" indent="0" algn="l" defTabSz="1422400">
            <a:lnSpc>
              <a:spcPct val="90000"/>
            </a:lnSpc>
            <a:spcBef>
              <a:spcPct val="0"/>
            </a:spcBef>
            <a:spcAft>
              <a:spcPct val="35000"/>
            </a:spcAft>
            <a:buNone/>
          </a:pPr>
          <a:r>
            <a:rPr lang="en-US" sz="2000" kern="1200" dirty="0"/>
            <a:t>February 2022</a:t>
          </a:r>
        </a:p>
      </dsp:txBody>
      <dsp:txXfrm>
        <a:off x="1004632" y="1495772"/>
        <a:ext cx="3338632" cy="1359793"/>
      </dsp:txXfrm>
    </dsp:sp>
    <dsp:sp modelId="{DEB1B640-822F-4546-9409-420C8FC618DC}">
      <dsp:nvSpPr>
        <dsp:cNvPr id="0" name=""/>
        <dsp:cNvSpPr/>
      </dsp:nvSpPr>
      <dsp:spPr>
        <a:xfrm>
          <a:off x="135979" y="1631751"/>
          <a:ext cx="868653" cy="1087834"/>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1A9CA-A631-41D8-B4A3-18ED3FC10BF1}">
      <dsp:nvSpPr>
        <dsp:cNvPr id="0" name=""/>
        <dsp:cNvSpPr/>
      </dsp:nvSpPr>
      <dsp:spPr>
        <a:xfrm>
          <a:off x="0" y="2991544"/>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Skyward </a:t>
          </a:r>
        </a:p>
        <a:p>
          <a:pPr marL="0" lvl="0" indent="0" algn="l" defTabSz="1422400">
            <a:lnSpc>
              <a:spcPct val="90000"/>
            </a:lnSpc>
            <a:spcBef>
              <a:spcPct val="0"/>
            </a:spcBef>
            <a:spcAft>
              <a:spcPct val="35000"/>
            </a:spcAft>
            <a:buNone/>
          </a:pPr>
          <a:r>
            <a:rPr lang="en-US" sz="2000" kern="1200" dirty="0"/>
            <a:t>February 2022</a:t>
          </a:r>
        </a:p>
      </dsp:txBody>
      <dsp:txXfrm>
        <a:off x="1004632" y="2991544"/>
        <a:ext cx="3338632" cy="1359793"/>
      </dsp:txXfrm>
    </dsp:sp>
    <dsp:sp modelId="{7D06A33C-E83D-48DE-B74A-FFEF4E64320A}">
      <dsp:nvSpPr>
        <dsp:cNvPr id="0" name=""/>
        <dsp:cNvSpPr/>
      </dsp:nvSpPr>
      <dsp:spPr>
        <a:xfrm>
          <a:off x="135979" y="3127524"/>
          <a:ext cx="868653" cy="1087834"/>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109C5F-8810-49F2-9223-E6626383CC20}">
      <dsp:nvSpPr>
        <dsp:cNvPr id="0" name=""/>
        <dsp:cNvSpPr/>
      </dsp:nvSpPr>
      <dsp:spPr>
        <a:xfrm>
          <a:off x="0" y="0"/>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Ascender</a:t>
          </a:r>
        </a:p>
        <a:p>
          <a:pPr marL="0" lvl="0" indent="0" algn="l" defTabSz="1422400">
            <a:lnSpc>
              <a:spcPct val="90000"/>
            </a:lnSpc>
            <a:spcBef>
              <a:spcPct val="0"/>
            </a:spcBef>
            <a:spcAft>
              <a:spcPct val="35000"/>
            </a:spcAft>
            <a:buNone/>
          </a:pPr>
          <a:r>
            <a:rPr lang="en-US" sz="2000" kern="1200" dirty="0"/>
            <a:t>November 2021</a:t>
          </a:r>
        </a:p>
      </dsp:txBody>
      <dsp:txXfrm>
        <a:off x="1004632" y="0"/>
        <a:ext cx="3338632" cy="1359793"/>
      </dsp:txXfrm>
    </dsp:sp>
    <dsp:sp modelId="{74DA1E13-B319-46EF-8E75-AF4EEE1DD1B2}">
      <dsp:nvSpPr>
        <dsp:cNvPr id="0" name=""/>
        <dsp:cNvSpPr/>
      </dsp:nvSpPr>
      <dsp:spPr>
        <a:xfrm>
          <a:off x="135979" y="135979"/>
          <a:ext cx="868653" cy="1087834"/>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93DB70B-BD20-4FC6-B27B-E191E61EBBCD}">
      <dsp:nvSpPr>
        <dsp:cNvPr id="0" name=""/>
        <dsp:cNvSpPr/>
      </dsp:nvSpPr>
      <dsp:spPr>
        <a:xfrm>
          <a:off x="0" y="1495772"/>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Frontline </a:t>
          </a:r>
        </a:p>
        <a:p>
          <a:pPr marL="0" lvl="0" indent="0" algn="l" defTabSz="1422400">
            <a:lnSpc>
              <a:spcPct val="90000"/>
            </a:lnSpc>
            <a:spcBef>
              <a:spcPct val="0"/>
            </a:spcBef>
            <a:spcAft>
              <a:spcPct val="35000"/>
            </a:spcAft>
            <a:buNone/>
          </a:pPr>
          <a:r>
            <a:rPr lang="en-US" sz="2000" kern="1200" dirty="0"/>
            <a:t>February 2022</a:t>
          </a:r>
        </a:p>
      </dsp:txBody>
      <dsp:txXfrm>
        <a:off x="1004632" y="1495772"/>
        <a:ext cx="3338632" cy="1359793"/>
      </dsp:txXfrm>
    </dsp:sp>
    <dsp:sp modelId="{DEB1B640-822F-4546-9409-420C8FC618DC}">
      <dsp:nvSpPr>
        <dsp:cNvPr id="0" name=""/>
        <dsp:cNvSpPr/>
      </dsp:nvSpPr>
      <dsp:spPr>
        <a:xfrm>
          <a:off x="135979" y="1631751"/>
          <a:ext cx="868653" cy="1087834"/>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3000" r="-13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C41A9CA-A631-41D8-B4A3-18ED3FC10BF1}">
      <dsp:nvSpPr>
        <dsp:cNvPr id="0" name=""/>
        <dsp:cNvSpPr/>
      </dsp:nvSpPr>
      <dsp:spPr>
        <a:xfrm>
          <a:off x="0" y="2991544"/>
          <a:ext cx="4343265" cy="135979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l" defTabSz="1422400">
            <a:lnSpc>
              <a:spcPct val="90000"/>
            </a:lnSpc>
            <a:spcBef>
              <a:spcPct val="0"/>
            </a:spcBef>
            <a:spcAft>
              <a:spcPct val="35000"/>
            </a:spcAft>
            <a:buNone/>
          </a:pPr>
          <a:r>
            <a:rPr lang="en-US" sz="3200" kern="1200" dirty="0"/>
            <a:t>Tyler Technologies </a:t>
          </a:r>
        </a:p>
        <a:p>
          <a:pPr marL="0" lvl="0" indent="0" algn="l" defTabSz="1422400">
            <a:lnSpc>
              <a:spcPct val="90000"/>
            </a:lnSpc>
            <a:spcBef>
              <a:spcPct val="0"/>
            </a:spcBef>
            <a:spcAft>
              <a:spcPct val="35000"/>
            </a:spcAft>
            <a:buNone/>
          </a:pPr>
          <a:r>
            <a:rPr lang="en-US" sz="2000" kern="1200" dirty="0"/>
            <a:t>February 2022</a:t>
          </a:r>
        </a:p>
      </dsp:txBody>
      <dsp:txXfrm>
        <a:off x="1004632" y="2991544"/>
        <a:ext cx="3338632" cy="1359793"/>
      </dsp:txXfrm>
    </dsp:sp>
    <dsp:sp modelId="{7D06A33C-E83D-48DE-B74A-FFEF4E64320A}">
      <dsp:nvSpPr>
        <dsp:cNvPr id="0" name=""/>
        <dsp:cNvSpPr/>
      </dsp:nvSpPr>
      <dsp:spPr>
        <a:xfrm>
          <a:off x="135979" y="3127524"/>
          <a:ext cx="868653" cy="1087834"/>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957313-719C-4AB2-8E4D-335379354495}">
      <dsp:nvSpPr>
        <dsp:cNvPr id="0" name=""/>
        <dsp:cNvSpPr/>
      </dsp:nvSpPr>
      <dsp:spPr>
        <a:xfrm>
          <a:off x="349304" y="4330296"/>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C4FA774-8559-45BD-AE35-8B51F76610BF}">
      <dsp:nvSpPr>
        <dsp:cNvPr id="0" name=""/>
        <dsp:cNvSpPr/>
      </dsp:nvSpPr>
      <dsp:spPr>
        <a:xfrm>
          <a:off x="349304" y="3707715"/>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C841EB3-4841-405C-A4D3-A3B0E897C6CC}">
      <dsp:nvSpPr>
        <dsp:cNvPr id="0" name=""/>
        <dsp:cNvSpPr/>
      </dsp:nvSpPr>
      <dsp:spPr>
        <a:xfrm>
          <a:off x="349304" y="3085133"/>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F906D29-6421-4B94-A2A9-FAAE06ED6071}">
      <dsp:nvSpPr>
        <dsp:cNvPr id="0" name=""/>
        <dsp:cNvSpPr/>
      </dsp:nvSpPr>
      <dsp:spPr>
        <a:xfrm>
          <a:off x="349304" y="2462552"/>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2273F1-22AD-4324-8254-4AF354311B28}">
      <dsp:nvSpPr>
        <dsp:cNvPr id="0" name=""/>
        <dsp:cNvSpPr/>
      </dsp:nvSpPr>
      <dsp:spPr>
        <a:xfrm>
          <a:off x="349304" y="1839970"/>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D1FD7E1-8CAD-4163-A01A-578AC277F098}">
      <dsp:nvSpPr>
        <dsp:cNvPr id="0" name=""/>
        <dsp:cNvSpPr/>
      </dsp:nvSpPr>
      <dsp:spPr>
        <a:xfrm>
          <a:off x="349304" y="1217389"/>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9558B67-299C-4C73-9A60-6BA26DE01625}">
      <dsp:nvSpPr>
        <dsp:cNvPr id="0" name=""/>
        <dsp:cNvSpPr/>
      </dsp:nvSpPr>
      <dsp:spPr>
        <a:xfrm>
          <a:off x="349304" y="594808"/>
          <a:ext cx="8256396" cy="0"/>
        </a:xfrm>
        <a:prstGeom prst="line">
          <a:avLst/>
        </a:prstGeom>
        <a:no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A294C06B-FBBA-404A-9E35-7BCCE7FE690B}">
      <dsp:nvSpPr>
        <dsp:cNvPr id="0" name=""/>
        <dsp:cNvSpPr/>
      </dsp:nvSpPr>
      <dsp:spPr>
        <a:xfrm>
          <a:off x="3334192" y="33390"/>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Project Kickoff</a:t>
          </a:r>
        </a:p>
      </dsp:txBody>
      <dsp:txXfrm>
        <a:off x="3334192" y="33390"/>
        <a:ext cx="4433283" cy="529899"/>
      </dsp:txXfrm>
    </dsp:sp>
    <dsp:sp modelId="{1B439A7B-644E-4E7D-B764-AA10586D3AFE}">
      <dsp:nvSpPr>
        <dsp:cNvPr id="0" name=""/>
        <dsp:cNvSpPr/>
      </dsp:nvSpPr>
      <dsp:spPr>
        <a:xfrm>
          <a:off x="-349304" y="1873"/>
          <a:ext cx="3543882" cy="592934"/>
        </a:xfrm>
        <a:prstGeom prst="round2SameRect">
          <a:avLst>
            <a:gd name="adj1" fmla="val 16670"/>
            <a:gd name="adj2" fmla="val 0"/>
          </a:avLst>
        </a:prstGeom>
        <a:solidFill>
          <a:schemeClr val="accent6">
            <a:shade val="80000"/>
            <a:hueOff val="0"/>
            <a:satOff val="0"/>
            <a:lumOff val="0"/>
            <a:alphaOff val="0"/>
          </a:schemeClr>
        </a:solidFill>
        <a:ln w="12700" cap="flat" cmpd="sng" algn="ctr">
          <a:solidFill>
            <a:schemeClr val="accent6">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May 25, 2021</a:t>
          </a:r>
        </a:p>
      </dsp:txBody>
      <dsp:txXfrm>
        <a:off x="-320354" y="30823"/>
        <a:ext cx="3485982" cy="563984"/>
      </dsp:txXfrm>
    </dsp:sp>
    <dsp:sp modelId="{C50C8A71-A876-4540-959D-51DDC4D737E6}">
      <dsp:nvSpPr>
        <dsp:cNvPr id="0" name=""/>
        <dsp:cNvSpPr/>
      </dsp:nvSpPr>
      <dsp:spPr>
        <a:xfrm>
          <a:off x="3334192" y="655972"/>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Ed-Fi Certification</a:t>
          </a:r>
        </a:p>
      </dsp:txBody>
      <dsp:txXfrm>
        <a:off x="3334192" y="655972"/>
        <a:ext cx="4433283" cy="529899"/>
      </dsp:txXfrm>
    </dsp:sp>
    <dsp:sp modelId="{188C198D-83C5-4746-BC1A-5AAE66446177}">
      <dsp:nvSpPr>
        <dsp:cNvPr id="0" name=""/>
        <dsp:cNvSpPr/>
      </dsp:nvSpPr>
      <dsp:spPr>
        <a:xfrm>
          <a:off x="-349304" y="624454"/>
          <a:ext cx="3543882" cy="592934"/>
        </a:xfrm>
        <a:prstGeom prst="round2SameRect">
          <a:avLst>
            <a:gd name="adj1" fmla="val 16670"/>
            <a:gd name="adj2" fmla="val 0"/>
          </a:avLst>
        </a:prstGeom>
        <a:solidFill>
          <a:schemeClr val="accent6">
            <a:shade val="80000"/>
            <a:hueOff val="127440"/>
            <a:satOff val="-14692"/>
            <a:lumOff val="7230"/>
            <a:alphaOff val="0"/>
          </a:schemeClr>
        </a:solidFill>
        <a:ln w="12700" cap="flat" cmpd="sng" algn="ctr">
          <a:solidFill>
            <a:schemeClr val="accent6">
              <a:shade val="80000"/>
              <a:hueOff val="127440"/>
              <a:satOff val="-14692"/>
              <a:lumOff val="723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1244600">
            <a:lnSpc>
              <a:spcPct val="90000"/>
            </a:lnSpc>
            <a:spcBef>
              <a:spcPct val="0"/>
            </a:spcBef>
            <a:spcAft>
              <a:spcPct val="35000"/>
            </a:spcAft>
            <a:buNone/>
          </a:pPr>
          <a:r>
            <a:rPr lang="en-US" sz="2800" kern="1200" dirty="0"/>
            <a:t>June 1, 2021</a:t>
          </a:r>
        </a:p>
      </dsp:txBody>
      <dsp:txXfrm>
        <a:off x="-320354" y="653404"/>
        <a:ext cx="3485982" cy="563984"/>
      </dsp:txXfrm>
    </dsp:sp>
    <dsp:sp modelId="{02D8E4B1-F27C-44DF-B2CE-A816664ABC18}">
      <dsp:nvSpPr>
        <dsp:cNvPr id="0" name=""/>
        <dsp:cNvSpPr/>
      </dsp:nvSpPr>
      <dsp:spPr>
        <a:xfrm>
          <a:off x="3334192" y="1278553"/>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Architecture and Design</a:t>
          </a:r>
        </a:p>
      </dsp:txBody>
      <dsp:txXfrm>
        <a:off x="3334192" y="1278553"/>
        <a:ext cx="4433283" cy="529899"/>
      </dsp:txXfrm>
    </dsp:sp>
    <dsp:sp modelId="{26FBCCFE-CC7E-4F3E-AB40-BCC316AF4227}">
      <dsp:nvSpPr>
        <dsp:cNvPr id="0" name=""/>
        <dsp:cNvSpPr/>
      </dsp:nvSpPr>
      <dsp:spPr>
        <a:xfrm>
          <a:off x="-349304" y="1247036"/>
          <a:ext cx="3543882" cy="592934"/>
        </a:xfrm>
        <a:prstGeom prst="round2SameRect">
          <a:avLst>
            <a:gd name="adj1" fmla="val 16670"/>
            <a:gd name="adj2" fmla="val 0"/>
          </a:avLst>
        </a:prstGeom>
        <a:solidFill>
          <a:schemeClr val="accent6">
            <a:shade val="80000"/>
            <a:hueOff val="254881"/>
            <a:satOff val="-29384"/>
            <a:lumOff val="14461"/>
            <a:alphaOff val="0"/>
          </a:schemeClr>
        </a:solidFill>
        <a:ln w="12700" cap="flat" cmpd="sng" algn="ctr">
          <a:solidFill>
            <a:schemeClr val="accent6">
              <a:shade val="80000"/>
              <a:hueOff val="254881"/>
              <a:satOff val="-29384"/>
              <a:lumOff val="144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1435" tIns="51435" rIns="51435" bIns="51435" numCol="1" spcCol="1270" anchor="ctr" anchorCtr="0">
          <a:noAutofit/>
        </a:bodyPr>
        <a:lstStyle/>
        <a:p>
          <a:pPr marL="0" lvl="0" indent="0" algn="ctr" defTabSz="1200150">
            <a:lnSpc>
              <a:spcPct val="90000"/>
            </a:lnSpc>
            <a:spcBef>
              <a:spcPct val="0"/>
            </a:spcBef>
            <a:spcAft>
              <a:spcPct val="35000"/>
            </a:spcAft>
            <a:buNone/>
          </a:pPr>
          <a:r>
            <a:rPr lang="en-US" sz="2700" kern="1200" dirty="0"/>
            <a:t>August 30, 2021</a:t>
          </a:r>
        </a:p>
      </dsp:txBody>
      <dsp:txXfrm>
        <a:off x="-320354" y="1275986"/>
        <a:ext cx="3485982" cy="563984"/>
      </dsp:txXfrm>
    </dsp:sp>
    <dsp:sp modelId="{A167980C-A418-4750-94A1-D37F749A9D6D}">
      <dsp:nvSpPr>
        <dsp:cNvPr id="0" name=""/>
        <dsp:cNvSpPr/>
      </dsp:nvSpPr>
      <dsp:spPr>
        <a:xfrm>
          <a:off x="3334192" y="1901135"/>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b" anchorCtr="0">
          <a:noAutofit/>
        </a:bodyPr>
        <a:lstStyle/>
        <a:p>
          <a:pPr marL="0" lvl="0" indent="0" algn="l" defTabSz="1155700">
            <a:lnSpc>
              <a:spcPct val="90000"/>
            </a:lnSpc>
            <a:spcBef>
              <a:spcPct val="0"/>
            </a:spcBef>
            <a:spcAft>
              <a:spcPct val="35000"/>
            </a:spcAft>
            <a:buNone/>
          </a:pPr>
          <a:r>
            <a:rPr lang="en-US" sz="2600" kern="1200" dirty="0"/>
            <a:t>Texas Education Data Standards</a:t>
          </a:r>
        </a:p>
      </dsp:txBody>
      <dsp:txXfrm>
        <a:off x="3334192" y="1901135"/>
        <a:ext cx="4433283" cy="529899"/>
      </dsp:txXfrm>
    </dsp:sp>
    <dsp:sp modelId="{69B19438-797E-4333-B71A-EB9D2C21A69B}">
      <dsp:nvSpPr>
        <dsp:cNvPr id="0" name=""/>
        <dsp:cNvSpPr/>
      </dsp:nvSpPr>
      <dsp:spPr>
        <a:xfrm>
          <a:off x="-349304" y="1869617"/>
          <a:ext cx="3543882" cy="592934"/>
        </a:xfrm>
        <a:prstGeom prst="round2SameRect">
          <a:avLst>
            <a:gd name="adj1" fmla="val 16670"/>
            <a:gd name="adj2" fmla="val 0"/>
          </a:avLst>
        </a:prstGeom>
        <a:solidFill>
          <a:schemeClr val="accent6">
            <a:shade val="80000"/>
            <a:hueOff val="382321"/>
            <a:satOff val="-44076"/>
            <a:lumOff val="21691"/>
            <a:alphaOff val="0"/>
          </a:schemeClr>
        </a:solidFill>
        <a:ln w="12700" cap="flat" cmpd="sng" algn="ctr">
          <a:solidFill>
            <a:schemeClr val="accent6">
              <a:shade val="80000"/>
              <a:hueOff val="382321"/>
              <a:satOff val="-44076"/>
              <a:lumOff val="2169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1155700">
            <a:lnSpc>
              <a:spcPct val="90000"/>
            </a:lnSpc>
            <a:spcBef>
              <a:spcPct val="0"/>
            </a:spcBef>
            <a:spcAft>
              <a:spcPct val="35000"/>
            </a:spcAft>
            <a:buNone/>
          </a:pPr>
          <a:r>
            <a:rPr lang="en-US" sz="2600" kern="1200" dirty="0"/>
            <a:t>September 29, 2021</a:t>
          </a:r>
        </a:p>
      </dsp:txBody>
      <dsp:txXfrm>
        <a:off x="-320354" y="1898567"/>
        <a:ext cx="3485982" cy="563984"/>
      </dsp:txXfrm>
    </dsp:sp>
    <dsp:sp modelId="{31C26570-D429-4329-B2B8-4135B85D8DBA}">
      <dsp:nvSpPr>
        <dsp:cNvPr id="0" name=""/>
        <dsp:cNvSpPr/>
      </dsp:nvSpPr>
      <dsp:spPr>
        <a:xfrm>
          <a:off x="3334192" y="2523716"/>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kern="1200" dirty="0"/>
            <a:t>Software Development Kit </a:t>
          </a:r>
        </a:p>
      </dsp:txBody>
      <dsp:txXfrm>
        <a:off x="3334192" y="2523716"/>
        <a:ext cx="4433283" cy="529899"/>
      </dsp:txXfrm>
    </dsp:sp>
    <dsp:sp modelId="{D13FC151-79B5-41BD-AFF5-8D3EB17E3213}">
      <dsp:nvSpPr>
        <dsp:cNvPr id="0" name=""/>
        <dsp:cNvSpPr/>
      </dsp:nvSpPr>
      <dsp:spPr>
        <a:xfrm>
          <a:off x="-349304" y="2492199"/>
          <a:ext cx="3543882" cy="592934"/>
        </a:xfrm>
        <a:prstGeom prst="round2SameRect">
          <a:avLst>
            <a:gd name="adj1" fmla="val 16670"/>
            <a:gd name="adj2" fmla="val 0"/>
          </a:avLst>
        </a:prstGeom>
        <a:solidFill>
          <a:schemeClr val="accent6">
            <a:shade val="80000"/>
            <a:hueOff val="509761"/>
            <a:satOff val="-58767"/>
            <a:lumOff val="28922"/>
            <a:alphaOff val="0"/>
          </a:schemeClr>
        </a:solidFill>
        <a:ln w="12700" cap="flat" cmpd="sng" algn="ctr">
          <a:solidFill>
            <a:schemeClr val="accent6">
              <a:shade val="80000"/>
              <a:hueOff val="509761"/>
              <a:satOff val="-58767"/>
              <a:lumOff val="2892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December 8, 2021</a:t>
          </a:r>
        </a:p>
      </dsp:txBody>
      <dsp:txXfrm>
        <a:off x="-320354" y="2521149"/>
        <a:ext cx="3485982" cy="563984"/>
      </dsp:txXfrm>
    </dsp:sp>
    <dsp:sp modelId="{C9AB0FCB-74B5-4D94-B9D6-78D51F82658A}">
      <dsp:nvSpPr>
        <dsp:cNvPr id="0" name=""/>
        <dsp:cNvSpPr/>
      </dsp:nvSpPr>
      <dsp:spPr>
        <a:xfrm>
          <a:off x="3334192" y="3146297"/>
          <a:ext cx="4433283" cy="529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kern="1200" dirty="0"/>
            <a:t>Pilot Vendor Cohort</a:t>
          </a:r>
        </a:p>
      </dsp:txBody>
      <dsp:txXfrm>
        <a:off x="3334192" y="3146297"/>
        <a:ext cx="4433283" cy="529899"/>
      </dsp:txXfrm>
    </dsp:sp>
    <dsp:sp modelId="{8DC9D307-00AA-4A9F-B943-5F204ABDA995}">
      <dsp:nvSpPr>
        <dsp:cNvPr id="0" name=""/>
        <dsp:cNvSpPr/>
      </dsp:nvSpPr>
      <dsp:spPr>
        <a:xfrm>
          <a:off x="-349304" y="3114780"/>
          <a:ext cx="3543882" cy="592934"/>
        </a:xfrm>
        <a:prstGeom prst="round2SameRect">
          <a:avLst>
            <a:gd name="adj1" fmla="val 16670"/>
            <a:gd name="adj2" fmla="val 0"/>
          </a:avLst>
        </a:prstGeom>
        <a:solidFill>
          <a:schemeClr val="accent6">
            <a:shade val="80000"/>
            <a:hueOff val="637202"/>
            <a:satOff val="-73459"/>
            <a:lumOff val="36152"/>
            <a:alphaOff val="0"/>
          </a:schemeClr>
        </a:solidFill>
        <a:ln w="12700" cap="flat" cmpd="sng" algn="ctr">
          <a:solidFill>
            <a:schemeClr val="accent6">
              <a:shade val="80000"/>
              <a:hueOff val="637202"/>
              <a:satOff val="-73459"/>
              <a:lumOff val="3615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February 7, 2022</a:t>
          </a:r>
        </a:p>
      </dsp:txBody>
      <dsp:txXfrm>
        <a:off x="-320354" y="3143730"/>
        <a:ext cx="3485982" cy="563984"/>
      </dsp:txXfrm>
    </dsp:sp>
    <dsp:sp modelId="{0EAEA6F8-8D35-46B4-BB2C-752999737932}">
      <dsp:nvSpPr>
        <dsp:cNvPr id="0" name=""/>
        <dsp:cNvSpPr/>
      </dsp:nvSpPr>
      <dsp:spPr>
        <a:xfrm>
          <a:off x="3321667" y="3737361"/>
          <a:ext cx="4458333" cy="5929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7625" tIns="47625" rIns="47625" bIns="47625" numCol="1" spcCol="1270" anchor="b" anchorCtr="0">
          <a:noAutofit/>
        </a:bodyPr>
        <a:lstStyle/>
        <a:p>
          <a:pPr marL="0" lvl="0" indent="0" algn="l" defTabSz="1111250">
            <a:lnSpc>
              <a:spcPct val="90000"/>
            </a:lnSpc>
            <a:spcBef>
              <a:spcPct val="0"/>
            </a:spcBef>
            <a:spcAft>
              <a:spcPct val="35000"/>
            </a:spcAft>
            <a:buNone/>
          </a:pPr>
          <a:r>
            <a:rPr lang="en-US" sz="2500" i="1" kern="1200" dirty="0"/>
            <a:t>Next Scheduled Webinar </a:t>
          </a:r>
        </a:p>
      </dsp:txBody>
      <dsp:txXfrm>
        <a:off x="3321667" y="3737361"/>
        <a:ext cx="4458333" cy="592934"/>
      </dsp:txXfrm>
    </dsp:sp>
    <dsp:sp modelId="{0735FCEE-C2CB-48FE-AAB1-B4CDD852BA54}">
      <dsp:nvSpPr>
        <dsp:cNvPr id="0" name=""/>
        <dsp:cNvSpPr/>
      </dsp:nvSpPr>
      <dsp:spPr>
        <a:xfrm>
          <a:off x="-349304" y="3737361"/>
          <a:ext cx="3543882" cy="592934"/>
        </a:xfrm>
        <a:prstGeom prst="round2SameRect">
          <a:avLst>
            <a:gd name="adj1" fmla="val 16670"/>
            <a:gd name="adj2" fmla="val 0"/>
          </a:avLst>
        </a:prstGeom>
        <a:solidFill>
          <a:schemeClr val="accent6">
            <a:shade val="80000"/>
            <a:hueOff val="764642"/>
            <a:satOff val="-88151"/>
            <a:lumOff val="43383"/>
            <a:alphaOff val="0"/>
          </a:schemeClr>
        </a:solidFill>
        <a:ln w="12700" cap="flat" cmpd="sng" algn="ctr">
          <a:solidFill>
            <a:schemeClr val="accent6">
              <a:shade val="80000"/>
              <a:hueOff val="764642"/>
              <a:satOff val="-88151"/>
              <a:lumOff val="4338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7625" tIns="47625" rIns="47625" bIns="47625" numCol="1" spcCol="1270" anchor="ctr" anchorCtr="0">
          <a:noAutofit/>
        </a:bodyPr>
        <a:lstStyle/>
        <a:p>
          <a:pPr marL="0" lvl="0" indent="0" algn="ctr" defTabSz="1111250">
            <a:lnSpc>
              <a:spcPct val="90000"/>
            </a:lnSpc>
            <a:spcBef>
              <a:spcPct val="0"/>
            </a:spcBef>
            <a:spcAft>
              <a:spcPct val="35000"/>
            </a:spcAft>
            <a:buNone/>
          </a:pPr>
          <a:r>
            <a:rPr lang="en-US" sz="2500" kern="1200" dirty="0"/>
            <a:t>April 6, 2022</a:t>
          </a:r>
        </a:p>
      </dsp:txBody>
      <dsp:txXfrm>
        <a:off x="-320354" y="3766311"/>
        <a:ext cx="3485982" cy="563984"/>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1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layout/CircleArrowProcess">
  <dgm:title val=""/>
  <dgm:desc val=""/>
  <dgm:catLst>
    <dgm:cat type="process" pri="16500"/>
    <dgm:cat type="cycle" pri="16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5"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1144"/>
              <dgm:constr type="t" for="ch" forName="Accent1" refType="h" fact="0"/>
              <dgm:constr type="w" for="ch" forName="Accent1" refType="w" fact="0.5542"/>
              <dgm:constr type="h" for="ch" forName="Accent1" refType="h" fact="0.6665"/>
              <dgm:constr type="l" for="ch" forName="Parent1" refType="w" fact="0.2368"/>
              <dgm:constr type="t" for="ch" forName="Parent1" refType="h" fact="0.2413"/>
              <dgm:constr type="w" for="ch" forName="Parent1" refType="w" fact="0.3092"/>
              <dgm:constr type="h" for="ch" forName="Parent1" refType="h" fact="0.1859"/>
              <dgm:constr type="l" for="ch" forName="Parent2" refType="w" fact="0.0822"/>
              <dgm:constr type="t" for="ch" forName="Parent2" refType="h" fact="0.625"/>
              <dgm:constr type="w" for="ch" forName="Parent2" refType="w" fact="0.3092"/>
              <dgm:constr type="h" for="ch" forName="Parent2" refType="h" fact="0.1859"/>
              <dgm:constr type="l" for="ch" forName="Child1" refType="w" fact="0.6678"/>
              <dgm:constr type="t" for="ch" forName="Child1" refType="h" fact="0.1978"/>
              <dgm:constr type="w" for="ch" forName="Child1" refType="w" fact="0.3322"/>
              <dgm:constr type="h" for="ch" forName="Child1" refType="h" fact="0.265"/>
              <dgm:constr type="l" for="ch" forName="Child2" refType="w" fact="0.5164"/>
              <dgm:constr type="t" for="ch" forName="Child2" refType="h" fact="0.5855"/>
              <dgm:constr type="w" for="ch" forName="Child2" refType="w" fact="0.3322"/>
              <dgm:constr type="h" for="ch" forName="Child2" refType="h" fact="0.265"/>
              <dgm:constr type="l" for="ch" forName="Accent2" refType="w" fact="0"/>
              <dgm:constr type="t" for="ch" forName="Accent2" refType="h" fact="0.4272"/>
              <dgm:constr type="w" for="ch" forName="Accent2" refType="w" fact="0.4761"/>
              <dgm:constr type="h" for="ch" forName="Accent2" refType="h" fact="0.5728"/>
            </dgm:constrLst>
          </dgm:if>
          <dgm:if name="Name6"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1479"/>
              <dgm:constr type="t" for="ch" forName="Accent1" refType="h" fact="0"/>
              <dgm:constr type="w" for="ch" forName="Accent1" refType="w" fact="0.5325"/>
              <dgm:constr type="h" for="ch" forName="Accent1" refType="h" fact="0.4814"/>
              <dgm:constr type="l" for="ch" forName="Accent2" refType="w" fact="0"/>
              <dgm:constr type="t" for="ch" forName="Accent2" refType="h" fact="0.2766"/>
              <dgm:constr type="w" for="ch" forName="Accent2" refType="w" fact="0.5325"/>
              <dgm:constr type="h" for="ch" forName="Accent2" refType="h" fact="0.4814"/>
              <dgm:constr type="l" for="ch" forName="Parent1" refType="w" fact="0.2656"/>
              <dgm:constr type="t" for="ch" forName="Parent1" refType="h" fact="0.1738"/>
              <dgm:constr type="w" for="ch" forName="Parent1" refType="w" fact="0.2959"/>
              <dgm:constr type="h" for="ch" forName="Parent1" refType="h" fact="0.1337"/>
              <dgm:constr type="l" for="ch" forName="Accent3" refType="w" fact="0.1858"/>
              <dgm:constr type="t" for="ch" forName="Accent3" refType="h" fact="0.5863"/>
              <dgm:constr type="w" for="ch" forName="Accent3" refType="w" fact="0.4575"/>
              <dgm:constr type="h" for="ch" forName="Accent3" refType="h" fact="0.4137"/>
              <dgm:constr type="l" for="ch" forName="Parent2" refType="w" fact="0.1183"/>
              <dgm:constr type="t" for="ch" forName="Parent2" refType="h" fact="0.452"/>
              <dgm:constr type="w" for="ch" forName="Parent2" refType="w" fact="0.2959"/>
              <dgm:constr type="h" for="ch" forName="Parent2" refType="h" fact="0.1337"/>
              <dgm:constr type="l" for="ch" forName="Parent3" refType="w" fact="0.2663"/>
              <dgm:constr type="t" for="ch" forName="Parent3" refType="h" fact="0.7306"/>
              <dgm:constr type="w" for="ch" forName="Parent3" refType="w" fact="0.2959"/>
              <dgm:constr type="h" for="ch" forName="Parent3" refType="h" fact="0.1337"/>
              <dgm:constr type="l" for="ch" forName="Child2" refType="w" fact="0.5325"/>
              <dgm:constr type="t" for="ch" forName="Child2" refType="h" fact="0.4217"/>
              <dgm:constr type="w" for="ch" forName="Child2" refType="w" fact="0.3195"/>
              <dgm:constr type="h" for="ch" forName="Child2" refType="h" fact="0.1926"/>
              <dgm:constr type="l" for="ch" forName="Child1" refType="w" fact="0.6805"/>
              <dgm:constr type="t" for="ch" forName="Child1" refType="h" fact="0.1435"/>
              <dgm:constr type="w" for="ch" forName="Child1" refType="w" fact="0.3195"/>
              <dgm:constr type="h" for="ch" forName="Child1" refType="h" fact="0.1926"/>
              <dgm:constr type="l" for="ch" forName="Child3" refType="w" fact="0.6805"/>
              <dgm:constr type="t" for="ch" forName="Child3" refType="h" fact="0.6998"/>
              <dgm:constr type="w" for="ch" forName="Child3" refType="w" fact="0.3195"/>
              <dgm:constr type="h" for="ch" forName="Child3" refType="h" fact="0.1926"/>
            </dgm:constrLst>
          </dgm:if>
          <dgm:if name="Name7"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1481"/>
              <dgm:constr type="t" for="ch" forName="Accent1" refType="h" fact="0"/>
              <dgm:constr type="w" for="ch" forName="Accent1" refType="w" fact="0.5331"/>
              <dgm:constr type="h" for="ch" forName="Accent1" refType="h" fact="0.3771"/>
              <dgm:constr type="l" for="ch" forName="Accent2" refType="w" fact="0"/>
              <dgm:constr type="t" for="ch" forName="Accent2" refType="h" fact="0.2167"/>
              <dgm:constr type="w" for="ch" forName="Accent2" refType="w" fact="0.5331"/>
              <dgm:constr type="h" for="ch" forName="Accent2" refType="h" fact="0.3771"/>
              <dgm:constr type="l" for="ch" forName="Accent3" refType="w" fact="0.1481"/>
              <dgm:constr type="t" for="ch" forName="Accent3" refType="h" fact="0.4342"/>
              <dgm:constr type="w" for="ch" forName="Accent3" refType="w" fact="0.5331"/>
              <dgm:constr type="h" for="ch" forName="Accent3" refType="h" fact="0.3771"/>
              <dgm:constr type="l" for="ch" forName="Parent1" refType="w" fact="0.2658"/>
              <dgm:constr type="t" for="ch" forName="Parent1" refType="h" fact="0.1365"/>
              <dgm:constr type="w" for="ch" forName="Parent1" refType="w" fact="0.2975"/>
              <dgm:constr type="h" for="ch" forName="Parent1" refType="h" fact="0.1052"/>
              <dgm:constr type="l" for="ch" forName="Parent2" refType="w" fact="0.1171"/>
              <dgm:constr type="t" for="ch" forName="Parent2" refType="h" fact="0.3536"/>
              <dgm:constr type="w" for="ch" forName="Parent2" refType="w" fact="0.2975"/>
              <dgm:constr type="h" for="ch" forName="Parent2" refType="h" fact="0.1052"/>
              <dgm:constr type="l" for="ch" forName="Parent3" refType="w" fact="0.2658"/>
              <dgm:constr type="t" for="ch" forName="Parent3" refType="h" fact="0.5707"/>
              <dgm:constr type="w" for="ch" forName="Parent3" refType="w" fact="0.2975"/>
              <dgm:constr type="h" for="ch" forName="Parent3" refType="h" fact="0.1052"/>
              <dgm:constr type="l" for="ch" forName="Parent4" refType="w" fact="0.1171"/>
              <dgm:constr type="t" for="ch" forName="Parent4" refType="h" fact="0.7878"/>
              <dgm:constr type="w" for="ch" forName="Parent4" refType="w" fact="0.2975"/>
              <dgm:constr type="h" for="ch" forName="Parent4" refType="h" fact="0.1052"/>
              <dgm:constr type="l" for="ch" forName="Child1" refType="w" fact="0.6804"/>
              <dgm:constr type="t" for="ch" forName="Child1" refType="h" fact="0.1119"/>
              <dgm:constr type="w" for="ch" forName="Child1" refType="w" fact="0.3196"/>
              <dgm:constr type="h" for="ch" forName="Child1" refType="h" fact="0.15"/>
              <dgm:constr type="l" for="ch" forName="Child2" refType="w" fact="0.5348"/>
              <dgm:constr type="t" for="ch" forName="Child2" refType="h" fact="0.3312"/>
              <dgm:constr type="w" for="ch" forName="Child2" refType="w" fact="0.3196"/>
              <dgm:constr type="h" for="ch" forName="Child2" refType="h" fact="0.15"/>
              <dgm:constr type="l" for="ch" forName="Child3" refType="w" fact="0.6804"/>
              <dgm:constr type="t" for="ch" forName="Child3" refType="h" fact="0.5461"/>
              <dgm:constr type="w" for="ch" forName="Child3" refType="w" fact="0.3196"/>
              <dgm:constr type="h" for="ch" forName="Child3" refType="h" fact="0.15"/>
              <dgm:constr type="l" for="ch" forName="Child4" refType="w" fact="0.5348"/>
              <dgm:constr type="t" for="ch" forName="Child4" refType="h" fact="0.7632"/>
              <dgm:constr type="w" for="ch" forName="Child4" refType="w" fact="0.3196"/>
              <dgm:constr type="h" for="ch" forName="Child4" refType="h" fact="0.15"/>
              <dgm:constr type="l" for="ch" forName="Accent4" refType="w" fact="0.038"/>
              <dgm:constr type="t" for="ch" forName="Accent4" refType="h" fact="0.6759"/>
              <dgm:constr type="w" for="ch" forName="Accent4" refType="w" fact="0.458"/>
              <dgm:constr type="h" for="ch" forName="Accent4" refType="h" fact="0.3241"/>
            </dgm:constrLst>
          </dgm:if>
          <dgm:if name="Name8"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1481"/>
              <dgm:constr type="t" for="ch" forName="Accent1" refType="h" fact="0"/>
              <dgm:constr type="w" for="ch" forName="Accent1" refType="w" fact="0.5331"/>
              <dgm:constr type="h" for="ch" forName="Accent1" refType="h" fact="0.3098"/>
              <dgm:constr type="l" for="ch" forName="Accent2" refType="w" fact="0"/>
              <dgm:constr type="t" for="ch" forName="Accent2" refType="h" fact="0.178"/>
              <dgm:constr type="w" for="ch" forName="Accent2" refType="w" fact="0.5331"/>
              <dgm:constr type="h" for="ch" forName="Accent2" refType="h" fact="0.3098"/>
              <dgm:constr type="l" for="ch" forName="Accent3" refType="w" fact="0.1481"/>
              <dgm:constr type="t" for="ch" forName="Accent3" refType="h" fact="0.3568"/>
              <dgm:constr type="w" for="ch" forName="Accent3" refType="w" fact="0.5331"/>
              <dgm:constr type="h" for="ch" forName="Accent3" refType="h" fact="0.3098"/>
              <dgm:constr type="l" for="ch" forName="Accent4" refType="w" fact="0"/>
              <dgm:constr type="t" for="ch" forName="Accent4" refType="h" fact="0.5351"/>
              <dgm:constr type="w" for="ch" forName="Accent4" refType="w" fact="0.5331"/>
              <dgm:constr type="h" for="ch" forName="Accent4" refType="h" fact="0.3098"/>
              <dgm:constr type="l" for="ch" forName="Accent5" refType="w" fact="0.186"/>
              <dgm:constr type="t" for="ch" forName="Accent5" refType="h" fact="0.7337"/>
              <dgm:constr type="w" for="ch" forName="Accent5" refType="w" fact="0.458"/>
              <dgm:constr type="h" for="ch" forName="Accent5" refType="h" fact="0.2663"/>
              <dgm:constr type="l" for="ch" forName="Parent1" refType="w" fact="0.2658"/>
              <dgm:constr type="t" for="ch" forName="Parent1" refType="h" fact="0.1122"/>
              <dgm:constr type="w" for="ch" forName="Parent1" refType="w" fact="0.2975"/>
              <dgm:constr type="h" for="ch" forName="Parent1" refType="h" fact="0.0864"/>
              <dgm:constr type="l" for="ch" forName="Parent2" refType="w" fact="0.1171"/>
              <dgm:constr type="t" for="ch" forName="Parent2" refType="h" fact="0.2906"/>
              <dgm:constr type="w" for="ch" forName="Parent2" refType="w" fact="0.2975"/>
              <dgm:constr type="h" for="ch" forName="Parent2" refType="h" fact="0.0864"/>
              <dgm:constr type="l" for="ch" forName="Parent3" refType="w" fact="0.2658"/>
              <dgm:constr type="t" for="ch" forName="Parent3" refType="h" fact="0.4689"/>
              <dgm:constr type="w" for="ch" forName="Parent3" refType="w" fact="0.2975"/>
              <dgm:constr type="h" for="ch" forName="Parent3" refType="h" fact="0.0864"/>
              <dgm:constr type="l" for="ch" forName="Parent4" refType="w" fact="0.1171"/>
              <dgm:constr type="t" for="ch" forName="Parent4" refType="h" fact="0.6473"/>
              <dgm:constr type="w" for="ch" forName="Parent4" refType="w" fact="0.2975"/>
              <dgm:constr type="h" for="ch" forName="Parent4" refType="h" fact="0.0864"/>
              <dgm:constr type="l" for="ch" forName="Parent5" refType="w" fact="0.2658"/>
              <dgm:constr type="t" for="ch" forName="Parent5" refType="h" fact="0.8257"/>
              <dgm:constr type="w" for="ch" forName="Parent5" refType="w" fact="0.2975"/>
              <dgm:constr type="h" for="ch" forName="Parent5" refType="h" fact="0.0864"/>
              <dgm:constr type="l" for="ch" forName="Child1" refType="w" fact="0.6804"/>
              <dgm:constr type="t" for="ch" forName="Child1" refType="h" fact="0.0919"/>
              <dgm:constr type="w" for="ch" forName="Child1" refType="w" fact="0.3196"/>
              <dgm:constr type="h" for="ch" forName="Child1" refType="h" fact="0.1232"/>
              <dgm:constr type="l" for="ch" forName="Child2" refType="w" fact="0.5348"/>
              <dgm:constr type="t" for="ch" forName="Child2" refType="h" fact="0.2722"/>
              <dgm:constr type="w" for="ch" forName="Child2" refType="w" fact="0.3196"/>
              <dgm:constr type="h" for="ch" forName="Child2" refType="h" fact="0.1232"/>
              <dgm:constr type="l" for="ch" forName="Child3" refType="w" fact="0.6804"/>
              <dgm:constr type="t" for="ch" forName="Child3" refType="h" fact="0.4487"/>
              <dgm:constr type="w" for="ch" forName="Child3" refType="w" fact="0.3196"/>
              <dgm:constr type="h" for="ch" forName="Child3" refType="h" fact="0.1232"/>
              <dgm:constr type="l" for="ch" forName="Child4" refType="w" fact="0.5348"/>
              <dgm:constr type="t" for="ch" forName="Child4" refType="h" fact="0.6271"/>
              <dgm:constr type="w" for="ch" forName="Child4" refType="w" fact="0.3196"/>
              <dgm:constr type="h" for="ch" forName="Child4" refType="h" fact="0.1232"/>
              <dgm:constr type="l" for="ch" forName="Child5" refType="w" fact="0.6804"/>
              <dgm:constr type="t" for="ch" forName="Child5" refType="h" fact="0.8073"/>
              <dgm:constr type="w" for="ch" forName="Child5" refType="w" fact="0.3196"/>
              <dgm:constr type="h" for="ch" forName="Child5" refType="h" fact="0.1232"/>
            </dgm:constrLst>
          </dgm:if>
          <dgm:if name="Name9"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1481"/>
              <dgm:constr type="t" for="ch" forName="Accent1" refType="h" fact="0"/>
              <dgm:constr type="w" for="ch" forName="Accent1" refType="w" fact="0.5331"/>
              <dgm:constr type="h" for="ch" forName="Accent1" refType="h" fact="0.2629"/>
              <dgm:constr type="l" for="ch" forName="Accent2" refType="w" fact="0"/>
              <dgm:constr type="t" for="ch" forName="Accent2" refType="h" fact="0.1511"/>
              <dgm:constr type="w" for="ch" forName="Accent2" refType="w" fact="0.5331"/>
              <dgm:constr type="h" for="ch" forName="Accent2" refType="h" fact="0.2629"/>
              <dgm:constr type="l" for="ch" forName="Accent3" refType="w" fact="0.1481"/>
              <dgm:constr type="t" for="ch" forName="Accent3" refType="h" fact="0.3027"/>
              <dgm:constr type="w" for="ch" forName="Accent3" refType="w" fact="0.5331"/>
              <dgm:constr type="h" for="ch" forName="Accent3" refType="h" fact="0.2629"/>
              <dgm:constr type="l" for="ch" forName="Accent4" refType="w" fact="0"/>
              <dgm:constr type="t" for="ch" forName="Accent4" refType="h" fact="0.4541"/>
              <dgm:constr type="w" for="ch" forName="Accent4" refType="w" fact="0.5331"/>
              <dgm:constr type="h" for="ch" forName="Accent4" refType="h" fact="0.2629"/>
              <dgm:constr type="l" for="ch" forName="Parent1" refType="w" fact="0.2658"/>
              <dgm:constr type="t" for="ch" forName="Parent1" refType="h" fact="0.0952"/>
              <dgm:constr type="w" for="ch" forName="Parent1" refType="w" fact="0.2975"/>
              <dgm:constr type="h" for="ch" forName="Parent1" refType="h" fact="0.0733"/>
              <dgm:constr type="l" for="ch" forName="Parent2" refType="w" fact="0.1171"/>
              <dgm:constr type="t" for="ch" forName="Parent2" refType="h" fact="0.2466"/>
              <dgm:constr type="w" for="ch" forName="Parent2" refType="w" fact="0.2975"/>
              <dgm:constr type="h" for="ch" forName="Parent2" refType="h" fact="0.0733"/>
              <dgm:constr type="l" for="ch" forName="Parent3" refType="w" fact="0.2658"/>
              <dgm:constr type="t" for="ch" forName="Parent3" refType="h" fact="0.3979"/>
              <dgm:constr type="w" for="ch" forName="Parent3" refType="w" fact="0.2975"/>
              <dgm:constr type="h" for="ch" forName="Parent3" refType="h" fact="0.0733"/>
              <dgm:constr type="l" for="ch" forName="Parent4" refType="w" fact="0.1171"/>
              <dgm:constr type="t" for="ch" forName="Parent4" refType="h" fact="0.5493"/>
              <dgm:constr type="w" for="ch" forName="Parent4" refType="w" fact="0.2975"/>
              <dgm:constr type="h" for="ch" forName="Parent4" refType="h" fact="0.0733"/>
              <dgm:constr type="l" for="ch" forName="Child1" refType="w" fact="0.6804"/>
              <dgm:constr type="t" for="ch" forName="Child1" refType="h" fact="0.078"/>
              <dgm:constr type="w" for="ch" forName="Child1" refType="w" fact="0.3196"/>
              <dgm:constr type="h" for="ch" forName="Child1" refType="h" fact="0.1046"/>
              <dgm:constr type="l" for="ch" forName="Child2" refType="w" fact="0.5348"/>
              <dgm:constr type="t" for="ch" forName="Child2" refType="h" fact="0.231"/>
              <dgm:constr type="w" for="ch" forName="Child2" refType="w" fact="0.3196"/>
              <dgm:constr type="h" for="ch" forName="Child2" refType="h" fact="0.1046"/>
              <dgm:constr type="l" for="ch" forName="Child3" refType="w" fact="0.6804"/>
              <dgm:constr type="t" for="ch" forName="Child3" refType="h" fact="0.3808"/>
              <dgm:constr type="w" for="ch" forName="Child3" refType="w" fact="0.3196"/>
              <dgm:constr type="h" for="ch" forName="Child3" refType="h" fact="0.1046"/>
              <dgm:constr type="l" for="ch" forName="Child4" refType="w" fact="0.5348"/>
              <dgm:constr type="t" for="ch" forName="Child4" refType="h" fact="0.5322"/>
              <dgm:constr type="w" for="ch" forName="Child4" refType="w" fact="0.3196"/>
              <dgm:constr type="h" for="ch" forName="Child4" refType="h" fact="0.1046"/>
              <dgm:constr type="l" for="ch" forName="Accent5" refType="w" fact="0.1481"/>
              <dgm:constr type="t" for="ch" forName="Accent5" refType="h" fact="0.6053"/>
              <dgm:constr type="w" for="ch" forName="Accent5" refType="w" fact="0.5331"/>
              <dgm:constr type="h" for="ch" forName="Accent5" refType="h" fact="0.2629"/>
              <dgm:constr type="l" for="ch" forName="Accent6" refType="w" fact="0.038"/>
              <dgm:constr type="t" for="ch" forName="Accent6" refType="h" fact="0.774"/>
              <dgm:constr type="w" for="ch" forName="Accent6" refType="w" fact="0.458"/>
              <dgm:constr type="h" for="ch" forName="Accent6" refType="h" fact="0.226"/>
              <dgm:constr type="l" for="ch" forName="Parent5" refType="w" fact="0.2658"/>
              <dgm:constr type="t" for="ch" forName="Parent5" refType="h" fact="0.7005"/>
              <dgm:constr type="w" for="ch" forName="Parent5" refType="w" fact="0.2975"/>
              <dgm:constr type="h" for="ch" forName="Parent5" refType="h" fact="0.0733"/>
              <dgm:constr type="l" for="ch" forName="Parent6" refType="w" fact="0.1171"/>
              <dgm:constr type="t" for="ch" forName="Parent6" refType="h" fact="0.8519"/>
              <dgm:constr type="w" for="ch" forName="Parent6" refType="w" fact="0.2975"/>
              <dgm:constr type="h" for="ch" forName="Parent6" refType="h" fact="0.0733"/>
              <dgm:constr type="l" for="ch" forName="Child5" refType="w" fact="0.6804"/>
              <dgm:constr type="t" for="ch" forName="Child5" refType="h" fact="0.6833"/>
              <dgm:constr type="w" for="ch" forName="Child5" refType="w" fact="0.3196"/>
              <dgm:constr type="h" for="ch" forName="Child5" refType="h" fact="0.1046"/>
              <dgm:constr type="l" for="ch" forName="Child6" refType="w" fact="0.5348"/>
              <dgm:constr type="t" for="ch" forName="Child6" refType="h" fact="0.8347"/>
              <dgm:constr type="w" for="ch" forName="Child6" refType="w" fact="0.3196"/>
              <dgm:constr type="h" for="ch" forName="Child6" refType="h" fact="0.1046"/>
            </dgm:constrLst>
          </dgm:if>
          <dgm:else name="Name10">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1481"/>
              <dgm:constr type="t" for="ch" forName="Accent1" refType="h" fact="0"/>
              <dgm:constr type="w" for="ch" forName="Accent1" refType="w" fact="0.5331"/>
              <dgm:constr type="h" for="ch" forName="Accent1" refType="h" fact="0.2284"/>
              <dgm:constr type="l" for="ch" forName="Accent2" refType="w" fact="0"/>
              <dgm:constr type="t" for="ch" forName="Accent2" refType="h" fact="0.1312"/>
              <dgm:constr type="w" for="ch" forName="Accent2" refType="w" fact="0.5331"/>
              <dgm:constr type="h" for="ch" forName="Accent2" refType="h" fact="0.2284"/>
              <dgm:constr type="l" for="ch" forName="Accent3" refType="w" fact="0.1481"/>
              <dgm:constr type="t" for="ch" forName="Accent3" refType="h" fact="0.263"/>
              <dgm:constr type="w" for="ch" forName="Accent3" refType="w" fact="0.5331"/>
              <dgm:constr type="h" for="ch" forName="Accent3" refType="h" fact="0.2284"/>
              <dgm:constr type="l" for="ch" forName="Accent4" refType="w" fact="0"/>
              <dgm:constr type="t" for="ch" forName="Accent4" refType="h" fact="0.3945"/>
              <dgm:constr type="w" for="ch" forName="Accent4" refType="w" fact="0.5331"/>
              <dgm:constr type="h" for="ch" forName="Accent4" refType="h" fact="0.2284"/>
              <dgm:constr type="l" for="ch" forName="Parent1" refType="w" fact="0.2658"/>
              <dgm:constr type="t" for="ch" forName="Parent1" refType="h" fact="0.0827"/>
              <dgm:constr type="w" for="ch" forName="Parent1" refType="w" fact="0.2975"/>
              <dgm:constr type="h" for="ch" forName="Parent1" refType="h" fact="0.0637"/>
              <dgm:constr type="l" for="ch" forName="Parent2" refType="w" fact="0.1171"/>
              <dgm:constr type="t" for="ch" forName="Parent2" refType="h" fact="0.2142"/>
              <dgm:constr type="w" for="ch" forName="Parent2" refType="w" fact="0.2975"/>
              <dgm:constr type="h" for="ch" forName="Parent2" refType="h" fact="0.0637"/>
              <dgm:constr type="l" for="ch" forName="Parent3" refType="w" fact="0.2658"/>
              <dgm:constr type="t" for="ch" forName="Parent3" refType="h" fact="0.3457"/>
              <dgm:constr type="w" for="ch" forName="Parent3" refType="w" fact="0.2975"/>
              <dgm:constr type="h" for="ch" forName="Parent3" refType="h" fact="0.0637"/>
              <dgm:constr type="l" for="ch" forName="Parent4" refType="w" fact="0.1171"/>
              <dgm:constr type="t" for="ch" forName="Parent4" refType="h" fact="0.4772"/>
              <dgm:constr type="w" for="ch" forName="Parent4" refType="w" fact="0.2975"/>
              <dgm:constr type="h" for="ch" forName="Parent4" refType="h" fact="0.0637"/>
              <dgm:constr type="l" for="ch" forName="Child1" refType="w" fact="0.6804"/>
              <dgm:constr type="t" for="ch" forName="Child1" refType="h" fact="0.0678"/>
              <dgm:constr type="w" for="ch" forName="Child1" refType="w" fact="0.3196"/>
              <dgm:constr type="h" for="ch" forName="Child1" refType="h" fact="0.0908"/>
              <dgm:constr type="l" for="ch" forName="Child2" refType="w" fact="0.5348"/>
              <dgm:constr type="t" for="ch" forName="Child2" refType="h" fact="0.2006"/>
              <dgm:constr type="w" for="ch" forName="Child2" refType="w" fact="0.3196"/>
              <dgm:constr type="h" for="ch" forName="Child2" refType="h" fact="0.0908"/>
              <dgm:constr type="l" for="ch" forName="Child3" refType="w" fact="0.6804"/>
              <dgm:constr type="t" for="ch" forName="Child3" refType="h" fact="0.3308"/>
              <dgm:constr type="w" for="ch" forName="Child3" refType="w" fact="0.3196"/>
              <dgm:constr type="h" for="ch" forName="Child3" refType="h" fact="0.0908"/>
              <dgm:constr type="l" for="ch" forName="Child4" refType="w" fact="0.5348"/>
              <dgm:constr type="t" for="ch" forName="Child4" refType="h" fact="0.4623"/>
              <dgm:constr type="w" for="ch" forName="Child4" refType="w" fact="0.3196"/>
              <dgm:constr type="h" for="ch" forName="Child4" refType="h" fact="0.0908"/>
              <dgm:constr type="l" for="ch" forName="Accent5" refType="w" fact="0.1481"/>
              <dgm:constr type="t" for="ch" forName="Accent5" refType="h" fact="0.5258"/>
              <dgm:constr type="w" for="ch" forName="Accent5" refType="w" fact="0.5331"/>
              <dgm:constr type="h" for="ch" forName="Accent5" refType="h" fact="0.2284"/>
              <dgm:constr type="l" for="ch" forName="Accent6" refType="w" fact="0"/>
              <dgm:constr type="t" for="ch" forName="Accent6" refType="h" fact="0.6573"/>
              <dgm:constr type="w" for="ch" forName="Accent6" refType="w" fact="0.5331"/>
              <dgm:constr type="h" for="ch" forName="Accent6" refType="h" fact="0.2284"/>
              <dgm:constr type="l" for="ch" forName="Accent7" refType="w" fact="0.186"/>
              <dgm:constr type="t" for="ch" forName="Accent7" refType="h" fact="0.8037"/>
              <dgm:constr type="w" for="ch" forName="Accent7" refType="w" fact="0.458"/>
              <dgm:constr type="h" for="ch" forName="Accent7" refType="h" fact="0.1963"/>
              <dgm:constr type="l" for="ch" forName="Parent5" refType="w" fact="0.2658"/>
              <dgm:constr type="t" for="ch" forName="Parent5" refType="h" fact="0.6085"/>
              <dgm:constr type="w" for="ch" forName="Parent5" refType="w" fact="0.2975"/>
              <dgm:constr type="h" for="ch" forName="Parent5" refType="h" fact="0.0637"/>
              <dgm:constr type="l" for="ch" forName="Parent6" refType="w" fact="0.1171"/>
              <dgm:constr type="t" for="ch" forName="Parent6" refType="h" fact="0.74"/>
              <dgm:constr type="w" for="ch" forName="Parent6" refType="w" fact="0.2975"/>
              <dgm:constr type="h" for="ch" forName="Parent6" refType="h" fact="0.0637"/>
              <dgm:constr type="l" for="ch" forName="Parent7" refType="w" fact="0.2658"/>
              <dgm:constr type="t" for="ch" forName="Parent7" refType="h" fact="0.8715"/>
              <dgm:constr type="w" for="ch" forName="Parent7" refType="w" fact="0.2975"/>
              <dgm:constr type="h" for="ch" forName="Parent7" refType="h" fact="0.0637"/>
              <dgm:constr type="l" for="ch" forName="Child5" refType="w" fact="0.6804"/>
              <dgm:constr type="t" for="ch" forName="Child5" refType="h" fact="0.5936"/>
              <dgm:constr type="w" for="ch" forName="Child5" refType="w" fact="0.3196"/>
              <dgm:constr type="h" for="ch" forName="Child5" refType="h" fact="0.0908"/>
              <dgm:constr type="l" for="ch" forName="Child6" refType="w" fact="0.5348"/>
              <dgm:constr type="t" for="ch" forName="Child6" refType="h" fact="0.7251"/>
              <dgm:constr type="w" for="ch" forName="Child6" refType="w" fact="0.3196"/>
              <dgm:constr type="h" for="ch" forName="Child6" refType="h" fact="0.0908"/>
              <dgm:constr type="l" for="ch" forName="Child7" refType="w" fact="0.6804"/>
              <dgm:constr type="t" for="ch" forName="Child7" refType="h" fact="0.8579"/>
              <dgm:constr type="w" for="ch" forName="Child7" refType="w" fact="0.3196"/>
              <dgm:constr type="h" for="ch" forName="Child7" refType="h" fact="0.0908"/>
            </dgm:constrLst>
          </dgm:else>
        </dgm:choose>
      </dgm:if>
      <dgm:else name="Name11">
        <dgm:choose name="Name12">
          <dgm:if name="Name13" axis="ch" ptType="node" func="cnt" op="equ" val="1">
            <dgm:alg type="composite">
              <dgm:param type="ar" val="1.5999"/>
            </dgm:alg>
            <dgm:constrLst>
              <dgm:constr type="primFontSz" for="des" forName="Child1" val="65"/>
              <dgm:constr type="primFontSz" for="des" forName="Parent1" val="65"/>
              <dgm:constr type="primFontSz" for="des" forName="Child1" refType="primFontSz" refFor="des" refForName="Parent1" op="lte"/>
              <dgm:constr type="l" for="ch" forName="Child1" refType="w" fact="0.625"/>
              <dgm:constr type="t" for="ch" forName="Child1" refType="h" fact="0.2981"/>
              <dgm:constr type="w" for="ch" forName="Child1" refType="w" fact="0.375"/>
              <dgm:constr type="h" for="ch" forName="Child1" refType="h" fact="0.4001"/>
              <dgm:constr type="l" for="ch" forName="Accent1" refType="w" fact="0"/>
              <dgm:constr type="t" for="ch" forName="Accent1" refType="h" fact="0"/>
              <dgm:constr type="w" for="ch" forName="Accent1" refType="w" fact="0.6249"/>
              <dgm:constr type="h" for="ch" forName="Accent1" refType="h"/>
              <dgm:constr type="l" for="ch" forName="Parent1" refType="w" fact="0.138"/>
              <dgm:constr type="t" for="ch" forName="Parent1" refType="h" fact="0.362"/>
              <dgm:constr type="w" for="ch" forName="Parent1" refType="w" fact="0.3487"/>
              <dgm:constr type="h" for="ch" forName="Parent1" refType="h" fact="0.2789"/>
            </dgm:constrLst>
          </dgm:if>
          <dgm:if name="Name14" axis="ch" ptType="node" func="cnt" op="equ" val="2">
            <dgm:alg type="composite">
              <dgm:param type="ar" val="1.2026"/>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Accent1" refType="w" fact="-0.0407"/>
              <dgm:constr type="t" for="ch" forName="Accent1" refType="h" fact="0"/>
              <dgm:constr type="w" for="ch" forName="Accent1" refType="w" fact="0.5542"/>
              <dgm:constr type="h" for="ch" forName="Accent1" refType="h" fact="0.6665"/>
              <dgm:constr type="l" for="ch" forName="Accent2" refType="w" fact="0.1533"/>
              <dgm:constr type="t" for="ch" forName="Accent2" refType="h" fact="0.4272"/>
              <dgm:constr type="w" for="ch" forName="Accent2" refType="w" fact="0.4761"/>
              <dgm:constr type="h" for="ch" forName="Accent2" refType="h" fact="0.5728"/>
              <dgm:constr type="l" for="ch" forName="Parent1" refType="w" fact="0.0822"/>
              <dgm:constr type="t" for="ch" forName="Parent1" refType="h" fact="0.2413"/>
              <dgm:constr type="w" for="ch" forName="Parent1" refType="w" fact="0.3092"/>
              <dgm:constr type="h" for="ch" forName="Parent1" refType="h" fact="0.1859"/>
              <dgm:constr type="l" for="ch" forName="Parent2" refType="w" fact="0.2368"/>
              <dgm:constr type="t" for="ch" forName="Parent2" refType="h" fact="0.625"/>
              <dgm:constr type="w" for="ch" forName="Parent2" refType="w" fact="0.3092"/>
              <dgm:constr type="h" for="ch" forName="Parent2" refType="h" fact="0.1859"/>
              <dgm:constr type="l" for="ch" forName="Child1" refType="w" fact="0.5164"/>
              <dgm:constr type="t" for="ch" forName="Child1" refType="h" fact="0.1978"/>
              <dgm:constr type="w" for="ch" forName="Child1" refType="w" fact="0.3322"/>
              <dgm:constr type="h" for="ch" forName="Child1" refType="h" fact="0.265"/>
              <dgm:constr type="l" for="ch" forName="Child2" refType="w" fact="0.6678"/>
              <dgm:constr type="t" for="ch" forName="Child2" refType="h" fact="0.5855"/>
              <dgm:constr type="w" for="ch" forName="Child2" refType="w" fact="0.3322"/>
              <dgm:constr type="h" for="ch" forName="Child2" refType="h" fact="0.265"/>
            </dgm:constrLst>
          </dgm:if>
          <dgm:if name="Name15" axis="ch" ptType="node" func="cnt" op="equ" val="3">
            <dgm:alg type="composite">
              <dgm:param type="ar" val="0.9039"/>
            </dgm:alg>
            <dgm:shape xmlns:r="http://schemas.openxmlformats.org/officeDocument/2006/relationships" r:blip="">
              <dgm:adjLst/>
            </dgm:shape>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Accent1" refType="w" fact="0"/>
              <dgm:constr type="t" for="ch" forName="Accent1" refType="h" fact="0"/>
              <dgm:constr type="w" for="ch" forName="Accent1" refType="w" fact="0.5325"/>
              <dgm:constr type="h" for="ch" forName="Accent1" refType="h" fact="0.4814"/>
              <dgm:constr type="l" for="ch" forName="Accent2" refType="w" fact="0.1479"/>
              <dgm:constr type="t" for="ch" forName="Accent2" refType="h" fact="0.2766"/>
              <dgm:constr type="w" for="ch" forName="Accent2" refType="w" fact="0.5325"/>
              <dgm:constr type="h" for="ch" forName="Accent2" refType="h" fact="0.4814"/>
              <dgm:constr type="l" for="ch" forName="Accent3" refType="w" fact="0.0378"/>
              <dgm:constr type="t" for="ch" forName="Accent3" refType="h" fact="0.5863"/>
              <dgm:constr type="w" for="ch" forName="Accent3" refType="w" fact="0.4575"/>
              <dgm:constr type="h" for="ch" forName="Accent3" refType="h" fact="0.4137"/>
              <dgm:constr type="l" for="ch" forName="Parent1" refType="w" fact="0.1183"/>
              <dgm:constr type="t" for="ch" forName="Parent1" refType="h" fact="0.1738"/>
              <dgm:constr type="w" for="ch" forName="Parent1" refType="w" fact="0.2959"/>
              <dgm:constr type="h" for="ch" forName="Parent1" refType="h" fact="0.1337"/>
              <dgm:constr type="l" for="ch" forName="Parent2" refType="w" fact="0.2656"/>
              <dgm:constr type="t" for="ch" forName="Parent2" refType="h" fact="0.452"/>
              <dgm:constr type="w" for="ch" forName="Parent2" refType="w" fact="0.2959"/>
              <dgm:constr type="h" for="ch" forName="Parent2" refType="h" fact="0.1337"/>
              <dgm:constr type="l" for="ch" forName="Parent3" refType="w" fact="0.1183"/>
              <dgm:constr type="t" for="ch" forName="Parent3" refType="h" fact="0.7306"/>
              <dgm:constr type="w" for="ch" forName="Parent3" refType="w" fact="0.2959"/>
              <dgm:constr type="h" for="ch" forName="Parent3" refType="h" fact="0.1337"/>
              <dgm:constr type="l" for="ch" forName="Child1" refType="w" fact="0.5325"/>
              <dgm:constr type="t" for="ch" forName="Child1" refType="h" fact="0.1435"/>
              <dgm:constr type="w" for="ch" forName="Child1" refType="w" fact="0.3195"/>
              <dgm:constr type="h" for="ch" forName="Child1" refType="h" fact="0.1926"/>
              <dgm:constr type="l" for="ch" forName="Child2" refType="w" fact="0.6805"/>
              <dgm:constr type="t" for="ch" forName="Child2" refType="h" fact="0.4217"/>
              <dgm:constr type="w" for="ch" forName="Child2" refType="w" fact="0.3195"/>
              <dgm:constr type="h" for="ch" forName="Child2" refType="h" fact="0.1926"/>
              <dgm:constr type="l" for="ch" forName="Child3" refType="w" fact="0.5325"/>
              <dgm:constr type="t" for="ch" forName="Child3" refType="h" fact="0.6998"/>
              <dgm:constr type="w" for="ch" forName="Child3" refType="w" fact="0.3195"/>
              <dgm:constr type="h" for="ch" forName="Child3" refType="h" fact="0.1926"/>
            </dgm:constrLst>
          </dgm:if>
          <dgm:if name="Name16" axis="ch" ptType="node" func="cnt" op="equ" val="4">
            <dgm:alg type="composite">
              <dgm:param type="ar" val="0.707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1" refType="w" fact="0"/>
              <dgm:constr type="t" for="ch" forName="Accent1" refType="h" fact="0"/>
              <dgm:constr type="w" for="ch" forName="Accent1" refType="w" fact="0.5331"/>
              <dgm:constr type="h" for="ch" forName="Accent1" refType="h" fact="0.3771"/>
              <dgm:constr type="l" for="ch" forName="Accent2" refType="w" fact="0.1481"/>
              <dgm:constr type="t" for="ch" forName="Accent2" refType="h" fact="0.2167"/>
              <dgm:constr type="w" for="ch" forName="Accent2" refType="w" fact="0.5331"/>
              <dgm:constr type="h" for="ch" forName="Accent2" refType="h" fact="0.3771"/>
              <dgm:constr type="l" for="ch" forName="Accent3" refType="w" fact="0"/>
              <dgm:constr type="t" for="ch" forName="Accent3" refType="h" fact="0.4342"/>
              <dgm:constr type="w" for="ch" forName="Accent3" refType="w" fact="0.5331"/>
              <dgm:constr type="h" for="ch" forName="Accent3" refType="h" fact="0.3771"/>
              <dgm:constr type="l" for="ch" forName="Accent4" refType="w" fact="0.186"/>
              <dgm:constr type="t" for="ch" forName="Accent4" refType="h" fact="0.6759"/>
              <dgm:constr type="w" for="ch" forName="Accent4" refType="w" fact="0.458"/>
              <dgm:constr type="h" for="ch" forName="Accent4" refType="h" fact="0.3241"/>
              <dgm:constr type="l" for="ch" forName="Parent1" refType="w" fact="0.1171"/>
              <dgm:constr type="t" for="ch" forName="Parent1" refType="h" fact="0.1365"/>
              <dgm:constr type="w" for="ch" forName="Parent1" refType="w" fact="0.2975"/>
              <dgm:constr type="h" for="ch" forName="Parent1" refType="h" fact="0.1052"/>
              <dgm:constr type="l" for="ch" forName="Parent2" refType="w" fact="0.2658"/>
              <dgm:constr type="t" for="ch" forName="Parent2" refType="h" fact="0.3536"/>
              <dgm:constr type="w" for="ch" forName="Parent2" refType="w" fact="0.2975"/>
              <dgm:constr type="h" for="ch" forName="Parent2" refType="h" fact="0.1052"/>
              <dgm:constr type="l" for="ch" forName="Parent3" refType="w" fact="0.1171"/>
              <dgm:constr type="t" for="ch" forName="Parent3" refType="h" fact="0.5707"/>
              <dgm:constr type="w" for="ch" forName="Parent3" refType="w" fact="0.2975"/>
              <dgm:constr type="h" for="ch" forName="Parent3" refType="h" fact="0.1052"/>
              <dgm:constr type="l" for="ch" forName="Parent4" refType="w" fact="0.2658"/>
              <dgm:constr type="t" for="ch" forName="Parent4" refType="h" fact="0.7878"/>
              <dgm:constr type="w" for="ch" forName="Parent4" refType="w" fact="0.2975"/>
              <dgm:constr type="h" for="ch" forName="Parent4" refType="h" fact="0.1052"/>
              <dgm:constr type="l" for="ch" forName="Child1" refType="w" fact="0.5348"/>
              <dgm:constr type="t" for="ch" forName="Child1" refType="h" fact="0.1119"/>
              <dgm:constr type="w" for="ch" forName="Child1" refType="w" fact="0.3196"/>
              <dgm:constr type="h" for="ch" forName="Child1" refType="h" fact="0.15"/>
              <dgm:constr type="l" for="ch" forName="Child2" refType="w" fact="0.6804"/>
              <dgm:constr type="t" for="ch" forName="Child2" refType="h" fact="0.3312"/>
              <dgm:constr type="w" for="ch" forName="Child2" refType="w" fact="0.3196"/>
              <dgm:constr type="h" for="ch" forName="Child2" refType="h" fact="0.15"/>
              <dgm:constr type="l" for="ch" forName="Child3" refType="w" fact="0.5348"/>
              <dgm:constr type="t" for="ch" forName="Child3" refType="h" fact="0.5461"/>
              <dgm:constr type="w" for="ch" forName="Child3" refType="w" fact="0.3196"/>
              <dgm:constr type="h" for="ch" forName="Child3" refType="h" fact="0.15"/>
              <dgm:constr type="l" for="ch" forName="Child4" refType="w" fact="0.6804"/>
              <dgm:constr type="t" for="ch" forName="Child4" refType="h" fact="0.7632"/>
              <dgm:constr type="w" for="ch" forName="Child4" refType="w" fact="0.3196"/>
              <dgm:constr type="h" for="ch" forName="Child4" refType="h" fact="0.15"/>
            </dgm:constrLst>
          </dgm:if>
          <dgm:if name="Name17" axis="ch" ptType="node" func="cnt" op="equ" val="5">
            <dgm:alg type="composite">
              <dgm:param type="ar" val="0.581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1" refType="w" fact="0"/>
              <dgm:constr type="t" for="ch" forName="Accent1" refType="h" fact="0"/>
              <dgm:constr type="w" for="ch" forName="Accent1" refType="w" fact="0.5331"/>
              <dgm:constr type="h" for="ch" forName="Accent1" refType="h" fact="0.3098"/>
              <dgm:constr type="l" for="ch" forName="Accent2" refType="w" fact="0.1481"/>
              <dgm:constr type="t" for="ch" forName="Accent2" refType="h" fact="0.178"/>
              <dgm:constr type="w" for="ch" forName="Accent2" refType="w" fact="0.5331"/>
              <dgm:constr type="h" for="ch" forName="Accent2" refType="h" fact="0.3098"/>
              <dgm:constr type="l" for="ch" forName="Accent3" refType="w" fact="0"/>
              <dgm:constr type="t" for="ch" forName="Accent3" refType="h" fact="0.3568"/>
              <dgm:constr type="w" for="ch" forName="Accent3" refType="w" fact="0.5331"/>
              <dgm:constr type="h" for="ch" forName="Accent3" refType="h" fact="0.3098"/>
              <dgm:constr type="l" for="ch" forName="Accent4" refType="w" fact="0.1481"/>
              <dgm:constr type="t" for="ch" forName="Accent4" refType="h" fact="0.5351"/>
              <dgm:constr type="w" for="ch" forName="Accent4" refType="w" fact="0.5331"/>
              <dgm:constr type="h" for="ch" forName="Accent4" refType="h" fact="0.3098"/>
              <dgm:constr type="l" for="ch" forName="Accent5" refType="w" fact="0.0378"/>
              <dgm:constr type="t" for="ch" forName="Accent5" refType="h" fact="0.7337"/>
              <dgm:constr type="w" for="ch" forName="Accent5" refType="w" fact="0.458"/>
              <dgm:constr type="h" for="ch" forName="Accent5" refType="h" fact="0.2663"/>
              <dgm:constr type="l" for="ch" forName="Parent1" refType="w" fact="0.1171"/>
              <dgm:constr type="t" for="ch" forName="Parent1" refType="h" fact="0.1122"/>
              <dgm:constr type="w" for="ch" forName="Parent1" refType="w" fact="0.2975"/>
              <dgm:constr type="h" for="ch" forName="Parent1" refType="h" fact="0.0864"/>
              <dgm:constr type="l" for="ch" forName="Parent2" refType="w" fact="0.2658"/>
              <dgm:constr type="t" for="ch" forName="Parent2" refType="h" fact="0.2906"/>
              <dgm:constr type="w" for="ch" forName="Parent2" refType="w" fact="0.2975"/>
              <dgm:constr type="h" for="ch" forName="Parent2" refType="h" fact="0.0864"/>
              <dgm:constr type="l" for="ch" forName="Parent3" refType="w" fact="0.1171"/>
              <dgm:constr type="t" for="ch" forName="Parent3" refType="h" fact="0.4689"/>
              <dgm:constr type="w" for="ch" forName="Parent3" refType="w" fact="0.2975"/>
              <dgm:constr type="h" for="ch" forName="Parent3" refType="h" fact="0.0864"/>
              <dgm:constr type="l" for="ch" forName="Parent4" refType="w" fact="0.2658"/>
              <dgm:constr type="t" for="ch" forName="Parent4" refType="h" fact="0.6473"/>
              <dgm:constr type="w" for="ch" forName="Parent4" refType="w" fact="0.2975"/>
              <dgm:constr type="h" for="ch" forName="Parent4" refType="h" fact="0.0864"/>
              <dgm:constr type="l" for="ch" forName="Parent5" refType="w" fact="0.1171"/>
              <dgm:constr type="t" for="ch" forName="Parent5" refType="h" fact="0.8257"/>
              <dgm:constr type="w" for="ch" forName="Parent5" refType="w" fact="0.2975"/>
              <dgm:constr type="h" for="ch" forName="Parent5" refType="h" fact="0.0864"/>
              <dgm:constr type="l" for="ch" forName="Child1" refType="w" fact="0.5348"/>
              <dgm:constr type="t" for="ch" forName="Child1" refType="h" fact="0.0919"/>
              <dgm:constr type="w" for="ch" forName="Child1" refType="w" fact="0.3196"/>
              <dgm:constr type="h" for="ch" forName="Child1" refType="h" fact="0.1232"/>
              <dgm:constr type="l" for="ch" forName="Child2" refType="w" fact="0.6804"/>
              <dgm:constr type="t" for="ch" forName="Child2" refType="h" fact="0.2722"/>
              <dgm:constr type="w" for="ch" forName="Child2" refType="w" fact="0.3196"/>
              <dgm:constr type="h" for="ch" forName="Child2" refType="h" fact="0.1232"/>
              <dgm:constr type="l" for="ch" forName="Child3" refType="w" fact="0.5348"/>
              <dgm:constr type="t" for="ch" forName="Child3" refType="h" fact="0.4487"/>
              <dgm:constr type="w" for="ch" forName="Child3" refType="w" fact="0.3196"/>
              <dgm:constr type="h" for="ch" forName="Child3" refType="h" fact="0.1232"/>
              <dgm:constr type="l" for="ch" forName="Child4" refType="w" fact="0.6804"/>
              <dgm:constr type="t" for="ch" forName="Child4" refType="h" fact="0.6271"/>
              <dgm:constr type="w" for="ch" forName="Child4" refType="w" fact="0.3196"/>
              <dgm:constr type="h" for="ch" forName="Child4" refType="h" fact="0.1232"/>
              <dgm:constr type="l" for="ch" forName="Child5" refType="w" fact="0.5348"/>
              <dgm:constr type="t" for="ch" forName="Child5" refType="h" fact="0.8073"/>
              <dgm:constr type="w" for="ch" forName="Child5" refType="w" fact="0.3196"/>
              <dgm:constr type="h" for="ch" forName="Child5" refType="h" fact="0.1232"/>
            </dgm:constrLst>
          </dgm:if>
          <dgm:if name="Name18" axis="ch" ptType="node" func="cnt" op="equ" val="6">
            <dgm:alg type="composite">
              <dgm:param type="ar" val="0.493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Accent1" refType="w" fact="0"/>
              <dgm:constr type="t" for="ch" forName="Accent1" refType="h" fact="0"/>
              <dgm:constr type="w" for="ch" forName="Accent1" refType="w" fact="0.5331"/>
              <dgm:constr type="h" for="ch" forName="Accent1" refType="h" fact="0.2629"/>
              <dgm:constr type="l" for="ch" forName="Accent2" refType="w" fact="0.1481"/>
              <dgm:constr type="t" for="ch" forName="Accent2" refType="h" fact="0.1511"/>
              <dgm:constr type="w" for="ch" forName="Accent2" refType="w" fact="0.5331"/>
              <dgm:constr type="h" for="ch" forName="Accent2" refType="h" fact="0.2629"/>
              <dgm:constr type="l" for="ch" forName="Accent3" refType="w" fact="0"/>
              <dgm:constr type="t" for="ch" forName="Accent3" refType="h" fact="0.3027"/>
              <dgm:constr type="w" for="ch" forName="Accent3" refType="w" fact="0.5331"/>
              <dgm:constr type="h" for="ch" forName="Accent3" refType="h" fact="0.2629"/>
              <dgm:constr type="l" for="ch" forName="Accent4" refType="w" fact="0.1481"/>
              <dgm:constr type="t" for="ch" forName="Accent4" refType="h" fact="0.4541"/>
              <dgm:constr type="w" for="ch" forName="Accent4" refType="w" fact="0.5331"/>
              <dgm:constr type="h" for="ch" forName="Accent4" refType="h" fact="0.2629"/>
              <dgm:constr type="l" for="ch" forName="Accent5" refType="w" fact="0"/>
              <dgm:constr type="t" for="ch" forName="Accent5" refType="h" fact="0.6053"/>
              <dgm:constr type="w" for="ch" forName="Accent5" refType="w" fact="0.5331"/>
              <dgm:constr type="h" for="ch" forName="Accent5" refType="h" fact="0.2629"/>
              <dgm:constr type="l" for="ch" forName="Accent6" refType="w" fact="0.186"/>
              <dgm:constr type="t" for="ch" forName="Accent6" refType="h" fact="0.774"/>
              <dgm:constr type="w" for="ch" forName="Accent6" refType="w" fact="0.458"/>
              <dgm:constr type="h" for="ch" forName="Accent6" refType="h" fact="0.226"/>
              <dgm:constr type="l" for="ch" forName="Parent1" refType="w" fact="0.1171"/>
              <dgm:constr type="t" for="ch" forName="Parent1" refType="h" fact="0.0952"/>
              <dgm:constr type="w" for="ch" forName="Parent1" refType="w" fact="0.2975"/>
              <dgm:constr type="h" for="ch" forName="Parent1" refType="h" fact="0.0733"/>
              <dgm:constr type="l" for="ch" forName="Parent2" refType="w" fact="0.2658"/>
              <dgm:constr type="t" for="ch" forName="Parent2" refType="h" fact="0.2466"/>
              <dgm:constr type="w" for="ch" forName="Parent2" refType="w" fact="0.2975"/>
              <dgm:constr type="h" for="ch" forName="Parent2" refType="h" fact="0.0733"/>
              <dgm:constr type="l" for="ch" forName="Parent3" refType="w" fact="0.1171"/>
              <dgm:constr type="t" for="ch" forName="Parent3" refType="h" fact="0.3979"/>
              <dgm:constr type="w" for="ch" forName="Parent3" refType="w" fact="0.2975"/>
              <dgm:constr type="h" for="ch" forName="Parent3" refType="h" fact="0.0733"/>
              <dgm:constr type="l" for="ch" forName="Parent4" refType="w" fact="0.2658"/>
              <dgm:constr type="t" for="ch" forName="Parent4" refType="h" fact="0.5493"/>
              <dgm:constr type="w" for="ch" forName="Parent4" refType="w" fact="0.2975"/>
              <dgm:constr type="h" for="ch" forName="Parent4" refType="h" fact="0.0733"/>
              <dgm:constr type="l" for="ch" forName="Parent5" refType="w" fact="0.1171"/>
              <dgm:constr type="t" for="ch" forName="Parent5" refType="h" fact="0.7005"/>
              <dgm:constr type="w" for="ch" forName="Parent5" refType="w" fact="0.2975"/>
              <dgm:constr type="h" for="ch" forName="Parent5" refType="h" fact="0.0733"/>
              <dgm:constr type="l" for="ch" forName="Parent6" refType="w" fact="0.2658"/>
              <dgm:constr type="t" for="ch" forName="Parent6" refType="h" fact="0.8519"/>
              <dgm:constr type="w" for="ch" forName="Parent6" refType="w" fact="0.2975"/>
              <dgm:constr type="h" for="ch" forName="Parent6" refType="h" fact="0.0733"/>
              <dgm:constr type="l" for="ch" forName="Child1" refType="w" fact="0.5348"/>
              <dgm:constr type="t" for="ch" forName="Child1" refType="h" fact="0.078"/>
              <dgm:constr type="w" for="ch" forName="Child1" refType="w" fact="0.3196"/>
              <dgm:constr type="h" for="ch" forName="Child1" refType="h" fact="0.1046"/>
              <dgm:constr type="l" for="ch" forName="Child2" refType="w" fact="0.6804"/>
              <dgm:constr type="t" for="ch" forName="Child2" refType="h" fact="0.231"/>
              <dgm:constr type="w" for="ch" forName="Child2" refType="w" fact="0.3196"/>
              <dgm:constr type="h" for="ch" forName="Child2" refType="h" fact="0.1046"/>
              <dgm:constr type="l" for="ch" forName="Child3" refType="w" fact="0.5348"/>
              <dgm:constr type="t" for="ch" forName="Child3" refType="h" fact="0.3808"/>
              <dgm:constr type="w" for="ch" forName="Child3" refType="w" fact="0.3196"/>
              <dgm:constr type="h" for="ch" forName="Child3" refType="h" fact="0.1046"/>
              <dgm:constr type="l" for="ch" forName="Child4" refType="w" fact="0.6804"/>
              <dgm:constr type="t" for="ch" forName="Child4" refType="h" fact="0.5322"/>
              <dgm:constr type="w" for="ch" forName="Child4" refType="w" fact="0.3196"/>
              <dgm:constr type="h" for="ch" forName="Child4" refType="h" fact="0.1046"/>
              <dgm:constr type="l" for="ch" forName="Child5" refType="w" fact="0.5348"/>
              <dgm:constr type="t" for="ch" forName="Child5" refType="h" fact="0.6833"/>
              <dgm:constr type="w" for="ch" forName="Child5" refType="w" fact="0.3196"/>
              <dgm:constr type="h" for="ch" forName="Child5" refType="h" fact="0.1046"/>
              <dgm:constr type="l" for="ch" forName="Child6" refType="w" fact="0.6804"/>
              <dgm:constr type="t" for="ch" forName="Child6" refType="h" fact="0.8347"/>
              <dgm:constr type="w" for="ch" forName="Child6" refType="w" fact="0.3196"/>
              <dgm:constr type="h" for="ch" forName="Child6" refType="h" fact="0.1046"/>
            </dgm:constrLst>
          </dgm:if>
          <dgm:else name="Name19">
            <dgm:alg type="composite">
              <dgm:param type="ar" val="0.428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Accent1" refType="w" fact="0"/>
              <dgm:constr type="t" for="ch" forName="Accent1" refType="h" fact="0"/>
              <dgm:constr type="w" for="ch" forName="Accent1" refType="w" fact="0.5331"/>
              <dgm:constr type="h" for="ch" forName="Accent1" refType="h" fact="0.2284"/>
              <dgm:constr type="l" for="ch" forName="Accent2" refType="w" fact="0.1481"/>
              <dgm:constr type="t" for="ch" forName="Accent2" refType="h" fact="0.1312"/>
              <dgm:constr type="w" for="ch" forName="Accent2" refType="w" fact="0.5331"/>
              <dgm:constr type="h" for="ch" forName="Accent2" refType="h" fact="0.2284"/>
              <dgm:constr type="l" for="ch" forName="Accent3" refType="w" fact="0"/>
              <dgm:constr type="t" for="ch" forName="Accent3" refType="h" fact="0.263"/>
              <dgm:constr type="w" for="ch" forName="Accent3" refType="w" fact="0.5331"/>
              <dgm:constr type="h" for="ch" forName="Accent3" refType="h" fact="0.2284"/>
              <dgm:constr type="l" for="ch" forName="Accent4" refType="w" fact="0.1481"/>
              <dgm:constr type="t" for="ch" forName="Accent4" refType="h" fact="0.3945"/>
              <dgm:constr type="w" for="ch" forName="Accent4" refType="w" fact="0.5331"/>
              <dgm:constr type="h" for="ch" forName="Accent4" refType="h" fact="0.2284"/>
              <dgm:constr type="l" for="ch" forName="Accent5" refType="w" fact="0"/>
              <dgm:constr type="t" for="ch" forName="Accent5" refType="h" fact="0.5258"/>
              <dgm:constr type="w" for="ch" forName="Accent5" refType="w" fact="0.5331"/>
              <dgm:constr type="h" for="ch" forName="Accent5" refType="h" fact="0.2284"/>
              <dgm:constr type="l" for="ch" forName="Accent6" refType="w" fact="0.1481"/>
              <dgm:constr type="t" for="ch" forName="Accent6" refType="h" fact="0.6573"/>
              <dgm:constr type="w" for="ch" forName="Accent6" refType="w" fact="0.5331"/>
              <dgm:constr type="h" for="ch" forName="Accent6" refType="h" fact="0.2284"/>
              <dgm:constr type="l" for="ch" forName="Accent7" refType="w" fact="0.0378"/>
              <dgm:constr type="t" for="ch" forName="Accent7" refType="h" fact="0.8037"/>
              <dgm:constr type="w" for="ch" forName="Accent7" refType="w" fact="0.458"/>
              <dgm:constr type="h" for="ch" forName="Accent7" refType="h" fact="0.1963"/>
              <dgm:constr type="l" for="ch" forName="Parent1" refType="w" fact="0.1171"/>
              <dgm:constr type="t" for="ch" forName="Parent1" refType="h" fact="0.0827"/>
              <dgm:constr type="w" for="ch" forName="Parent1" refType="w" fact="0.2975"/>
              <dgm:constr type="h" for="ch" forName="Parent1" refType="h" fact="0.0637"/>
              <dgm:constr type="l" for="ch" forName="Parent2" refType="w" fact="0.2658"/>
              <dgm:constr type="t" for="ch" forName="Parent2" refType="h" fact="0.2142"/>
              <dgm:constr type="w" for="ch" forName="Parent2" refType="w" fact="0.2975"/>
              <dgm:constr type="h" for="ch" forName="Parent2" refType="h" fact="0.0637"/>
              <dgm:constr type="l" for="ch" forName="Parent3" refType="w" fact="0.1171"/>
              <dgm:constr type="t" for="ch" forName="Parent3" refType="h" fact="0.3457"/>
              <dgm:constr type="w" for="ch" forName="Parent3" refType="w" fact="0.2975"/>
              <dgm:constr type="h" for="ch" forName="Parent3" refType="h" fact="0.0637"/>
              <dgm:constr type="l" for="ch" forName="Parent4" refType="w" fact="0.2658"/>
              <dgm:constr type="t" for="ch" forName="Parent4" refType="h" fact="0.4772"/>
              <dgm:constr type="w" for="ch" forName="Parent4" refType="w" fact="0.2975"/>
              <dgm:constr type="h" for="ch" forName="Parent4" refType="h" fact="0.0637"/>
              <dgm:constr type="l" for="ch" forName="Parent5" refType="w" fact="0.1171"/>
              <dgm:constr type="t" for="ch" forName="Parent5" refType="h" fact="0.6085"/>
              <dgm:constr type="w" for="ch" forName="Parent5" refType="w" fact="0.2975"/>
              <dgm:constr type="h" for="ch" forName="Parent5" refType="h" fact="0.0637"/>
              <dgm:constr type="l" for="ch" forName="Parent6" refType="w" fact="0.2658"/>
              <dgm:constr type="t" for="ch" forName="Parent6" refType="h" fact="0.74"/>
              <dgm:constr type="w" for="ch" forName="Parent6" refType="w" fact="0.2975"/>
              <dgm:constr type="h" for="ch" forName="Parent6" refType="h" fact="0.0637"/>
              <dgm:constr type="l" for="ch" forName="Parent7" refType="w" fact="0.1171"/>
              <dgm:constr type="t" for="ch" forName="Parent7" refType="h" fact="0.8715"/>
              <dgm:constr type="w" for="ch" forName="Parent7" refType="w" fact="0.2975"/>
              <dgm:constr type="h" for="ch" forName="Parent7" refType="h" fact="0.0637"/>
              <dgm:constr type="l" for="ch" forName="Child1" refType="w" fact="0.5348"/>
              <dgm:constr type="t" for="ch" forName="Child1" refType="h" fact="0.0678"/>
              <dgm:constr type="w" for="ch" forName="Child1" refType="w" fact="0.3196"/>
              <dgm:constr type="h" for="ch" forName="Child1" refType="h" fact="0.0908"/>
              <dgm:constr type="l" for="ch" forName="Child2" refType="w" fact="0.6804"/>
              <dgm:constr type="t" for="ch" forName="Child2" refType="h" fact="0.2006"/>
              <dgm:constr type="w" for="ch" forName="Child2" refType="w" fact="0.3196"/>
              <dgm:constr type="h" for="ch" forName="Child2" refType="h" fact="0.0908"/>
              <dgm:constr type="l" for="ch" forName="Child3" refType="w" fact="0.5348"/>
              <dgm:constr type="t" for="ch" forName="Child3" refType="h" fact="0.3308"/>
              <dgm:constr type="w" for="ch" forName="Child3" refType="w" fact="0.3196"/>
              <dgm:constr type="h" for="ch" forName="Child3" refType="h" fact="0.0908"/>
              <dgm:constr type="l" for="ch" forName="Child4" refType="w" fact="0.6804"/>
              <dgm:constr type="t" for="ch" forName="Child4" refType="h" fact="0.4623"/>
              <dgm:constr type="w" for="ch" forName="Child4" refType="w" fact="0.3196"/>
              <dgm:constr type="h" for="ch" forName="Child4" refType="h" fact="0.0908"/>
              <dgm:constr type="l" for="ch" forName="Child5" refType="w" fact="0.5348"/>
              <dgm:constr type="t" for="ch" forName="Child5" refType="h" fact="0.5936"/>
              <dgm:constr type="w" for="ch" forName="Child5" refType="w" fact="0.3196"/>
              <dgm:constr type="h" for="ch" forName="Child5" refType="h" fact="0.0908"/>
              <dgm:constr type="l" for="ch" forName="Child6" refType="w" fact="0.6804"/>
              <dgm:constr type="t" for="ch" forName="Child6" refType="h" fact="0.7251"/>
              <dgm:constr type="w" for="ch" forName="Child6" refType="w" fact="0.3196"/>
              <dgm:constr type="h" for="ch" forName="Child6" refType="h" fact="0.0908"/>
              <dgm:constr type="l" for="ch" forName="Child7" refType="w" fact="0.5348"/>
              <dgm:constr type="t" for="ch" forName="Child7" refType="h" fact="0.8579"/>
              <dgm:constr type="w" for="ch" forName="Child7" refType="w" fact="0.3196"/>
              <dgm:constr type="h" for="ch" forName="Child7" refType="h" fact="0.0908"/>
            </dgm:constrLst>
          </dgm:else>
        </dgm:choose>
      </dgm:else>
    </dgm:choose>
    <dgm:forEach name="wrapper" axis="self" ptType="parTrans">
      <dgm:forEach name="accentRepeat" axis="self">
        <dgm:layoutNode name="Accent" styleLbl="node1">
          <dgm:alg type="sp"/>
          <dgm:choose name="Name20">
            <dgm:if name="Name21" func="var" arg="dir" op="equ" val="norm">
              <dgm:choose name="Name22">
                <dgm:if name="Name23" axis="precedSib" ptType="node" func="cnt" op="equ" val="0">
                  <dgm:choose name="Name24">
                    <dgm:if name="Name25" axis="followSib" ptType="node" func="cnt" op="equ" val="0">
                      <dgm:shape xmlns:r="http://schemas.openxmlformats.org/officeDocument/2006/relationships" type="circularArrow" r:blip="">
                        <dgm:adjLst>
                          <dgm:adj idx="1" val="0.1098"/>
                          <dgm:adj idx="2" val="19.0387"/>
                          <dgm:adj idx="3" val="150"/>
                          <dgm:adj idx="4" val="180"/>
                          <dgm:adj idx="5" val="0.125"/>
                        </dgm:adjLst>
                      </dgm:shape>
                    </dgm:if>
                    <dgm:else name="Name26">
                      <dgm:shape xmlns:r="http://schemas.openxmlformats.org/officeDocument/2006/relationships" type="circularArrow" r:blip="">
                        <dgm:adjLst>
                          <dgm:adj idx="1" val="0.1098"/>
                          <dgm:adj idx="2" val="19.0387"/>
                          <dgm:adj idx="3" val="75"/>
                          <dgm:adj idx="4" val="180"/>
                          <dgm:adj idx="5" val="0.125"/>
                        </dgm:adjLst>
                      </dgm:shape>
                    </dgm:else>
                  </dgm:choose>
                </dgm:if>
                <dgm:else name="Name27">
                  <dgm:choose name="Name28">
                    <dgm:if name="Name29" axis="followSib" ptType="node" func="cnt" op="equ" val="0">
                      <dgm:choose name="Name30">
                        <dgm:if name="Name31" axis="precedSib" ptType="node" func="cnt" op="equ" val="1">
                          <dgm:shape xmlns:r="http://schemas.openxmlformats.org/officeDocument/2006/relationships" type="blockArc" r:blip="">
                            <dgm:adjLst>
                              <dgm:adj idx="1" val="0"/>
                              <dgm:adj idx="2" val="-45"/>
                              <dgm:adj idx="3" val="0.1274"/>
                            </dgm:adjLst>
                          </dgm:shape>
                        </dgm:if>
                        <dgm:if name="Name32" axis="precedSib" ptType="node" func="cnt" op="equ" val="2">
                          <dgm:shape xmlns:r="http://schemas.openxmlformats.org/officeDocument/2006/relationships" type="blockArc" r:blip="">
                            <dgm:adjLst>
                              <dgm:adj idx="1" val="-135"/>
                              <dgm:adj idx="2" val="180"/>
                              <dgm:adj idx="3" val="0.1274"/>
                            </dgm:adjLst>
                          </dgm:shape>
                        </dgm:if>
                        <dgm:if name="Name33" axis="precedSib" ptType="node" func="cnt" op="equ" val="3">
                          <dgm:shape xmlns:r="http://schemas.openxmlformats.org/officeDocument/2006/relationships" type="blockArc" r:blip="">
                            <dgm:adjLst>
                              <dgm:adj idx="1" val="0"/>
                              <dgm:adj idx="2" val="-45"/>
                              <dgm:adj idx="3" val="0.1274"/>
                            </dgm:adjLst>
                          </dgm:shape>
                        </dgm:if>
                        <dgm:if name="Name34" axis="precedSib" ptType="node" func="cnt" op="equ" val="4">
                          <dgm:shape xmlns:r="http://schemas.openxmlformats.org/officeDocument/2006/relationships" type="blockArc" r:blip="">
                            <dgm:adjLst>
                              <dgm:adj idx="1" val="-135"/>
                              <dgm:adj idx="2" val="180"/>
                              <dgm:adj idx="3" val="0.1274"/>
                            </dgm:adjLst>
                          </dgm:shape>
                        </dgm:if>
                        <dgm:if name="Name35" axis="precedSib" ptType="node" func="cnt" op="equ" val="5">
                          <dgm:shape xmlns:r="http://schemas.openxmlformats.org/officeDocument/2006/relationships" type="blockArc" r:blip="">
                            <dgm:adjLst>
                              <dgm:adj idx="1" val="0"/>
                              <dgm:adj idx="2" val="-45"/>
                              <dgm:adj idx="3" val="0.1274"/>
                            </dgm:adjLst>
                          </dgm:shape>
                        </dgm:if>
                        <dgm:if name="Name36" axis="precedSib" ptType="node" func="cnt" op="equ" val="6">
                          <dgm:shape xmlns:r="http://schemas.openxmlformats.org/officeDocument/2006/relationships" type="blockArc" r:blip="">
                            <dgm:adjLst>
                              <dgm:adj idx="1" val="-135"/>
                              <dgm:adj idx="2" val="180"/>
                              <dgm:adj idx="3" val="0.1274"/>
                            </dgm:adjLst>
                          </dgm:shape>
                        </dgm:if>
                        <dgm:else name="Name37"/>
                      </dgm:choose>
                    </dgm:if>
                    <dgm:else name="Name38">
                      <dgm:choose name="Name39">
                        <dgm:if name="Name40" axis="precedSib" ptType="node" func="cnt" op="equ" val="0">
                          <dgm:shape xmlns:r="http://schemas.openxmlformats.org/officeDocument/2006/relationships" type="blockArc" r:blip="">
                            <dgm:adjLst>
                              <dgm:adj idx="1" val="-133.1632"/>
                              <dgm:adj idx="2" val="65"/>
                              <dgm:adj idx="3" val="0.13"/>
                            </dgm:adjLst>
                          </dgm:shape>
                        </dgm:if>
                        <dgm:if name="Name41" axis="precedSib" ptType="node" func="cnt" op="equ" val="1">
                          <dgm:shape xmlns:r="http://schemas.openxmlformats.org/officeDocument/2006/relationships" type="leftCircularArrow" r:blip="">
                            <dgm:adjLst>
                              <dgm:adj idx="1" val="0.1098"/>
                              <dgm:adj idx="2" val="19.0387"/>
                              <dgm:adj idx="3" val="105"/>
                              <dgm:adj idx="4" val="-45"/>
                              <dgm:adj idx="5" val="0.125"/>
                            </dgm:adjLst>
                          </dgm:shape>
                        </dgm:if>
                        <dgm:if name="Name42" axis="precedSib" ptType="node" func="cnt" op="equ" val="2">
                          <dgm:shape xmlns:r="http://schemas.openxmlformats.org/officeDocument/2006/relationships" type="circularArrow" r:blip="">
                            <dgm:adjLst>
                              <dgm:adj idx="1" val="0.1098"/>
                              <dgm:adj idx="2" val="19.0387"/>
                              <dgm:adj idx="3" val="75"/>
                              <dgm:adj idx="4" val="-135"/>
                              <dgm:adj idx="5" val="0.125"/>
                            </dgm:adjLst>
                          </dgm:shape>
                        </dgm:if>
                        <dgm:if name="Name43" axis="precedSib" ptType="node" func="cnt" op="equ" val="3">
                          <dgm:shape xmlns:r="http://schemas.openxmlformats.org/officeDocument/2006/relationships" type="leftCircularArrow" r:blip="">
                            <dgm:adjLst>
                              <dgm:adj idx="1" val="0.1098"/>
                              <dgm:adj idx="2" val="19.0387"/>
                              <dgm:adj idx="3" val="105"/>
                              <dgm:adj idx="4" val="-45"/>
                              <dgm:adj idx="5" val="0.125"/>
                            </dgm:adjLst>
                          </dgm:shape>
                        </dgm:if>
                        <dgm:if name="Name44" axis="precedSib" ptType="node" func="cnt" op="equ" val="4">
                          <dgm:shape xmlns:r="http://schemas.openxmlformats.org/officeDocument/2006/relationships" type="circularArrow" r:blip="">
                            <dgm:adjLst>
                              <dgm:adj idx="1" val="0.1098"/>
                              <dgm:adj idx="2" val="19.0387"/>
                              <dgm:adj idx="3" val="75"/>
                              <dgm:adj idx="4" val="-135"/>
                              <dgm:adj idx="5" val="0.125"/>
                            </dgm:adjLst>
                          </dgm:shape>
                        </dgm:if>
                        <dgm:if name="Name45" axis="precedSib" ptType="node" func="cnt" op="equ" val="5">
                          <dgm:shape xmlns:r="http://schemas.openxmlformats.org/officeDocument/2006/relationships" type="leftCircularArrow" r:blip="">
                            <dgm:adjLst>
                              <dgm:adj idx="1" val="0.1098"/>
                              <dgm:adj idx="2" val="19.0387"/>
                              <dgm:adj idx="3" val="105"/>
                              <dgm:adj idx="4" val="-45"/>
                              <dgm:adj idx="5" val="0.125"/>
                            </dgm:adjLst>
                          </dgm:shape>
                        </dgm:if>
                        <dgm:if name="Name46" axis="precedSib" ptType="node" func="cnt" op="equ" val="6">
                          <dgm:shape xmlns:r="http://schemas.openxmlformats.org/officeDocument/2006/relationships" type="blockArc" r:blip="">
                            <dgm:adjLst>
                              <dgm:adj idx="1" val="-135"/>
                              <dgm:adj idx="2" val="180"/>
                              <dgm:adj idx="3" val="0.1274"/>
                            </dgm:adjLst>
                          </dgm:shape>
                        </dgm:if>
                        <dgm:else name="Name47"/>
                      </dgm:choose>
                    </dgm:else>
                  </dgm:choose>
                </dgm:else>
              </dgm:choose>
            </dgm:if>
            <dgm:else name="Name48">
              <dgm:choose name="Name49">
                <dgm:if name="Name50" axis="precedSib" ptType="node" func="cnt" op="equ" val="0">
                  <dgm:choose name="Name51">
                    <dgm:if name="Name52" axis="followSib" ptType="node" func="cnt" op="equ" val="0">
                      <dgm:shape xmlns:r="http://schemas.openxmlformats.org/officeDocument/2006/relationships" type="leftCircularArrow" r:blip="">
                        <dgm:adjLst>
                          <dgm:adj idx="1" val="0.1098"/>
                          <dgm:adj idx="2" val="19.0387"/>
                          <dgm:adj idx="3" val="30"/>
                          <dgm:adj idx="4" val="0"/>
                          <dgm:adj idx="5" val="0.125"/>
                        </dgm:adjLst>
                      </dgm:shape>
                    </dgm:if>
                    <dgm:else name="Name53">
                      <dgm:shape xmlns:r="http://schemas.openxmlformats.org/officeDocument/2006/relationships" type="leftCircularArrow" r:blip="">
                        <dgm:adjLst>
                          <dgm:adj idx="1" val="0.1098"/>
                          <dgm:adj idx="2" val="19.0387"/>
                          <dgm:adj idx="3" val="105"/>
                          <dgm:adj idx="4" val="0"/>
                          <dgm:adj idx="5" val="0.125"/>
                        </dgm:adjLst>
                      </dgm:shape>
                    </dgm:else>
                  </dgm:choose>
                </dgm:if>
                <dgm:else name="Name54">
                  <dgm:choose name="Name55">
                    <dgm:if name="Name56" axis="followSib" ptType="node" func="cnt" op="equ" val="0">
                      <dgm:choose name="Name57">
                        <dgm:if name="Name58" axis="precedSib" ptType="node" func="cnt" op="equ" val="1">
                          <dgm:shape xmlns:r="http://schemas.openxmlformats.org/officeDocument/2006/relationships" type="blockArc" r:blip="">
                            <dgm:adjLst>
                              <dgm:adj idx="1" val="-135"/>
                              <dgm:adj idx="2" val="180"/>
                              <dgm:adj idx="3" val="0.1274"/>
                            </dgm:adjLst>
                          </dgm:shape>
                        </dgm:if>
                        <dgm:if name="Name59" axis="precedSib" ptType="node" func="cnt" op="equ" val="2">
                          <dgm:shape xmlns:r="http://schemas.openxmlformats.org/officeDocument/2006/relationships" type="blockArc" r:blip="">
                            <dgm:adjLst>
                              <dgm:adj idx="1" val="0"/>
                              <dgm:adj idx="2" val="-45"/>
                              <dgm:adj idx="3" val="0.1274"/>
                            </dgm:adjLst>
                          </dgm:shape>
                        </dgm:if>
                        <dgm:if name="Name60" axis="precedSib" ptType="node" func="cnt" op="equ" val="3">
                          <dgm:shape xmlns:r="http://schemas.openxmlformats.org/officeDocument/2006/relationships" type="blockArc" r:blip="">
                            <dgm:adjLst>
                              <dgm:adj idx="1" val="-135"/>
                              <dgm:adj idx="2" val="180"/>
                              <dgm:adj idx="3" val="0.1274"/>
                            </dgm:adjLst>
                          </dgm:shape>
                        </dgm:if>
                        <dgm:if name="Name61" axis="precedSib" ptType="node" func="cnt" op="equ" val="4">
                          <dgm:shape xmlns:r="http://schemas.openxmlformats.org/officeDocument/2006/relationships" type="blockArc" r:blip="">
                            <dgm:adjLst>
                              <dgm:adj idx="1" val="0"/>
                              <dgm:adj idx="2" val="-45"/>
                              <dgm:adj idx="3" val="0.1274"/>
                            </dgm:adjLst>
                          </dgm:shape>
                        </dgm:if>
                        <dgm:if name="Name62" axis="precedSib" ptType="node" func="cnt" op="equ" val="5">
                          <dgm:shape xmlns:r="http://schemas.openxmlformats.org/officeDocument/2006/relationships" type="blockArc" r:blip="">
                            <dgm:adjLst>
                              <dgm:adj idx="1" val="-135"/>
                              <dgm:adj idx="2" val="180"/>
                              <dgm:adj idx="3" val="0.1274"/>
                            </dgm:adjLst>
                          </dgm:shape>
                        </dgm:if>
                        <dgm:if name="Name63" axis="precedSib" ptType="node" func="cnt" op="equ" val="6">
                          <dgm:shape xmlns:r="http://schemas.openxmlformats.org/officeDocument/2006/relationships" type="blockArc" r:blip="">
                            <dgm:adjLst>
                              <dgm:adj idx="1" val="0"/>
                              <dgm:adj idx="2" val="-45"/>
                              <dgm:adj idx="3" val="0.1274"/>
                            </dgm:adjLst>
                          </dgm:shape>
                        </dgm:if>
                        <dgm:else name="Name64"/>
                      </dgm:choose>
                    </dgm:if>
                    <dgm:else name="Name65">
                      <dgm:choose name="Name66">
                        <dgm:if name="Name67" axis="precedSib" ptType="node" func="cnt" op="equ" val="0">
                          <dgm:shape xmlns:r="http://schemas.openxmlformats.org/officeDocument/2006/relationships" type="blockArc" r:blip="">
                            <dgm:adjLst>
                              <dgm:adj idx="1" val="-133.1632"/>
                              <dgm:adj idx="2" val="65"/>
                              <dgm:adj idx="3" val="0.13"/>
                            </dgm:adjLst>
                          </dgm:shape>
                        </dgm:if>
                        <dgm:if name="Name68" axis="precedSib" ptType="node" func="cnt" op="equ" val="1">
                          <dgm:shape xmlns:r="http://schemas.openxmlformats.org/officeDocument/2006/relationships" type="circularArrow" r:blip="">
                            <dgm:adjLst>
                              <dgm:adj idx="1" val="0.1098"/>
                              <dgm:adj idx="2" val="19.0387"/>
                              <dgm:adj idx="3" val="75"/>
                              <dgm:adj idx="4" val="-135"/>
                              <dgm:adj idx="5" val="0.125"/>
                            </dgm:adjLst>
                          </dgm:shape>
                        </dgm:if>
                        <dgm:if name="Name69" axis="precedSib" ptType="node" func="cnt" op="equ" val="2">
                          <dgm:shape xmlns:r="http://schemas.openxmlformats.org/officeDocument/2006/relationships" type="leftCircularArrow" r:blip="">
                            <dgm:adjLst>
                              <dgm:adj idx="1" val="0.1098"/>
                              <dgm:adj idx="2" val="19.0387"/>
                              <dgm:adj idx="3" val="105"/>
                              <dgm:adj idx="4" val="-45"/>
                              <dgm:adj idx="5" val="0.125"/>
                            </dgm:adjLst>
                          </dgm:shape>
                        </dgm:if>
                        <dgm:if name="Name70" axis="precedSib" ptType="node" func="cnt" op="equ" val="3">
                          <dgm:shape xmlns:r="http://schemas.openxmlformats.org/officeDocument/2006/relationships" type="circularArrow" r:blip="">
                            <dgm:adjLst>
                              <dgm:adj idx="1" val="0.1098"/>
                              <dgm:adj idx="2" val="19.0387"/>
                              <dgm:adj idx="3" val="75"/>
                              <dgm:adj idx="4" val="-135"/>
                              <dgm:adj idx="5" val="0.125"/>
                            </dgm:adjLst>
                          </dgm:shape>
                        </dgm:if>
                        <dgm:if name="Name71" axis="precedSib" ptType="node" func="cnt" op="equ" val="4">
                          <dgm:shape xmlns:r="http://schemas.openxmlformats.org/officeDocument/2006/relationships" type="leftCircularArrow" r:blip="">
                            <dgm:adjLst>
                              <dgm:adj idx="1" val="0.1098"/>
                              <dgm:adj idx="2" val="19.0387"/>
                              <dgm:adj idx="3" val="105"/>
                              <dgm:adj idx="4" val="-45"/>
                              <dgm:adj idx="5" val="0.125"/>
                            </dgm:adjLst>
                          </dgm:shape>
                        </dgm:if>
                        <dgm:if name="Name72" axis="precedSib" ptType="node" func="cnt" op="equ" val="5">
                          <dgm:shape xmlns:r="http://schemas.openxmlformats.org/officeDocument/2006/relationships" type="circularArrow" r:blip="">
                            <dgm:adjLst>
                              <dgm:adj idx="1" val="0.1098"/>
                              <dgm:adj idx="2" val="19.0387"/>
                              <dgm:adj idx="3" val="75"/>
                              <dgm:adj idx="4" val="-135"/>
                              <dgm:adj idx="5" val="0.125"/>
                            </dgm:adjLst>
                          </dgm:shape>
                        </dgm:if>
                        <dgm:if name="Name73" axis="precedSib" ptType="node" func="cnt" op="equ" val="6">
                          <dgm:shape xmlns:r="http://schemas.openxmlformats.org/officeDocument/2006/relationships" type="blockArc" r:blip="">
                            <dgm:adjLst>
                              <dgm:adj idx="1" val="0"/>
                              <dgm:adj idx="2" val="-45"/>
                              <dgm:adj idx="3" val="0.1274"/>
                            </dgm:adjLst>
                          </dgm:shape>
                        </dgm:if>
                        <dgm:else name="Name74"/>
                      </dgm:choose>
                    </dgm:else>
                  </dgm:choose>
                </dgm:else>
              </dgm:choose>
            </dgm:else>
          </dgm:choose>
          <dgm:presOf/>
        </dgm:layoutNode>
      </dgm:forEach>
    </dgm:forEach>
    <dgm:forEach name="Name75" axis="ch" ptType="node" cnt="1">
      <dgm:layoutNode name="Accent1">
        <dgm:alg type="sp"/>
        <dgm:shape xmlns:r="http://schemas.openxmlformats.org/officeDocument/2006/relationships" r:blip="">
          <dgm:adjLst/>
        </dgm:shape>
        <dgm:presOf/>
        <dgm:constrLst/>
        <dgm:forEach name="Name76" ref="accentRepeat"/>
      </dgm:layoutNode>
      <dgm:choose name="Name77">
        <dgm:if name="Name78" axis="ch" ptType="node" func="cnt" op="gte" val="1">
          <dgm:layoutNode name="Child1"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79"/>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0" axis="ch" ptType="node" st="2" cnt="1">
      <dgm:layoutNode name="Accent2">
        <dgm:alg type="sp"/>
        <dgm:shape xmlns:r="http://schemas.openxmlformats.org/officeDocument/2006/relationships" r:blip="">
          <dgm:adjLst/>
        </dgm:shape>
        <dgm:presOf/>
        <dgm:constrLst/>
        <dgm:forEach name="Name81" ref="accentRepeat"/>
      </dgm:layoutNode>
      <dgm:choose name="Name82">
        <dgm:if name="Name83" axis="ch" ptType="node" func="cnt" op="gte" val="1">
          <dgm:layoutNode name="Child2"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4"/>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choose name="Name87">
        <dgm:if name="Name88" axis="ch" ptType="node" func="cnt" op="gte" val="1">
          <dgm:layoutNode name="Child3"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89"/>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0" axis="ch" ptType="node" st="4" cnt="1">
      <dgm:layoutNode name="Accent4">
        <dgm:alg type="sp"/>
        <dgm:shape xmlns:r="http://schemas.openxmlformats.org/officeDocument/2006/relationships" r:blip="">
          <dgm:adjLst/>
        </dgm:shape>
        <dgm:presOf/>
        <dgm:constrLst/>
        <dgm:forEach name="Name91" ref="accentRepeat"/>
      </dgm:layoutNode>
      <dgm:choose name="Name92">
        <dgm:if name="Name93" axis="ch" ptType="node" func="cnt" op="gte" val="1">
          <dgm:layoutNode name="Child4"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95" axis="ch" ptType="node" st="5" cnt="1">
      <dgm:layoutNode name="Accent5">
        <dgm:alg type="sp"/>
        <dgm:shape xmlns:r="http://schemas.openxmlformats.org/officeDocument/2006/relationships" r:blip="">
          <dgm:adjLst/>
        </dgm:shape>
        <dgm:presOf/>
        <dgm:constrLst/>
        <dgm:forEach name="Name96" ref="accentRepeat"/>
      </dgm:layoutNode>
      <dgm:choose name="Name97">
        <dgm:if name="Name98" axis="ch" ptType="node" func="cnt" op="gte" val="1">
          <dgm:layoutNode name="Child5"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99"/>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0" axis="ch" ptType="node" st="6" cnt="1">
      <dgm:layoutNode name="Accent6">
        <dgm:alg type="sp"/>
        <dgm:shape xmlns:r="http://schemas.openxmlformats.org/officeDocument/2006/relationships" r:blip="">
          <dgm:adjLst/>
        </dgm:shape>
        <dgm:presOf/>
        <dgm:constrLst/>
        <dgm:forEach name="Name101" ref="accentRepeat"/>
      </dgm:layoutNode>
      <dgm:choose name="Name102">
        <dgm:if name="Name103" axis="ch" ptType="node" func="cnt" op="gte" val="1">
          <dgm:layoutNode name="Child6"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4"/>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forEach name="Name105" axis="ch" ptType="node" st="7" cnt="1">
      <dgm:layoutNode name="Accent7">
        <dgm:alg type="sp"/>
        <dgm:shape xmlns:r="http://schemas.openxmlformats.org/officeDocument/2006/relationships" r:blip="">
          <dgm:adjLst/>
        </dgm:shape>
        <dgm:presOf/>
        <dgm:constrLst/>
        <dgm:forEach name="Name106" ref="accentRepeat"/>
      </dgm:layoutNode>
      <dgm:choose name="Name107">
        <dgm:if name="Name108" axis="ch" ptType="node" func="cnt" op="gte" val="1">
          <dgm:layoutNode name="Child7" styleLbl="revTx">
            <dgm:varLst>
              <dgm:chMax val="0"/>
              <dgm:chPref val="0"/>
              <dgm:bulletEnabled val="1"/>
            </dgm:varLst>
            <dgm:alg type="tx">
              <dgm:param type="stBulletLvl" val="1"/>
              <dgm:param type="parTxLTRAlign" val="l"/>
              <dgm:param type="txAnchorVertCh" val="mid"/>
            </dgm:alg>
            <dgm:shape xmlns:r="http://schemas.openxmlformats.org/officeDocument/2006/relationships" type="rect" r:blip="">
              <dgm:adjLst/>
            </dgm:shape>
            <dgm:presOf axis="des"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if>
        <dgm:else name="Name109"/>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0D5E38-04D7-4CC0-AF82-3E5D8CB519DD}" type="datetimeFigureOut">
              <a:rPr lang="en-US" smtClean="0"/>
              <a:t>3/23/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4D9ABE-7AB9-4D3A-BEA5-45E799BD6C0E}" type="slidenum">
              <a:rPr lang="en-US" smtClean="0"/>
              <a:t>‹#›</a:t>
            </a:fld>
            <a:endParaRPr lang="en-US" dirty="0"/>
          </a:p>
        </p:txBody>
      </p:sp>
    </p:spTree>
    <p:extLst>
      <p:ext uri="{BB962C8B-B14F-4D97-AF65-F5344CB8AC3E}">
        <p14:creationId xmlns:p14="http://schemas.microsoft.com/office/powerpoint/2010/main" val="25921768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a:t>
            </a:fld>
            <a:endParaRPr lang="en-US" dirty="0"/>
          </a:p>
        </p:txBody>
      </p:sp>
    </p:spTree>
    <p:extLst>
      <p:ext uri="{BB962C8B-B14F-4D97-AF65-F5344CB8AC3E}">
        <p14:creationId xmlns:p14="http://schemas.microsoft.com/office/powerpoint/2010/main" val="548962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CF3F766-5FD0-4122-BEEE-5C1569036747}" type="slidenum">
              <a:rPr lang="en-US" smtClean="0"/>
              <a:t>11</a:t>
            </a:fld>
            <a:endParaRPr lang="en-US" dirty="0"/>
          </a:p>
        </p:txBody>
      </p:sp>
    </p:spTree>
    <p:extLst>
      <p:ext uri="{BB962C8B-B14F-4D97-AF65-F5344CB8AC3E}">
        <p14:creationId xmlns:p14="http://schemas.microsoft.com/office/powerpoint/2010/main" val="4285882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2</a:t>
            </a:fld>
            <a:endParaRPr lang="en-US" dirty="0"/>
          </a:p>
        </p:txBody>
      </p:sp>
    </p:spTree>
    <p:extLst>
      <p:ext uri="{BB962C8B-B14F-4D97-AF65-F5344CB8AC3E}">
        <p14:creationId xmlns:p14="http://schemas.microsoft.com/office/powerpoint/2010/main" val="8438886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fld id="{9E4D9ABE-7AB9-4D3A-BEA5-45E799BD6C0E}" type="slidenum">
              <a:rPr lang="en-US" smtClean="0"/>
              <a:t>13</a:t>
            </a:fld>
            <a:endParaRPr lang="en-US" dirty="0"/>
          </a:p>
        </p:txBody>
      </p:sp>
    </p:spTree>
    <p:extLst>
      <p:ext uri="{BB962C8B-B14F-4D97-AF65-F5344CB8AC3E}">
        <p14:creationId xmlns:p14="http://schemas.microsoft.com/office/powerpoint/2010/main" val="10512499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4</a:t>
            </a:fld>
            <a:endParaRPr lang="en-US" dirty="0"/>
          </a:p>
        </p:txBody>
      </p:sp>
    </p:spTree>
    <p:extLst>
      <p:ext uri="{BB962C8B-B14F-4D97-AF65-F5344CB8AC3E}">
        <p14:creationId xmlns:p14="http://schemas.microsoft.com/office/powerpoint/2010/main" val="30942558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5</a:t>
            </a:fld>
            <a:endParaRPr lang="en-US" dirty="0"/>
          </a:p>
        </p:txBody>
      </p:sp>
    </p:spTree>
    <p:extLst>
      <p:ext uri="{BB962C8B-B14F-4D97-AF65-F5344CB8AC3E}">
        <p14:creationId xmlns:p14="http://schemas.microsoft.com/office/powerpoint/2010/main" val="7232112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fld id="{9E4D9ABE-7AB9-4D3A-BEA5-45E799BD6C0E}" type="slidenum">
              <a:rPr lang="en-US" smtClean="0"/>
              <a:t>16</a:t>
            </a:fld>
            <a:endParaRPr lang="en-US" dirty="0"/>
          </a:p>
        </p:txBody>
      </p:sp>
    </p:spTree>
    <p:extLst>
      <p:ext uri="{BB962C8B-B14F-4D97-AF65-F5344CB8AC3E}">
        <p14:creationId xmlns:p14="http://schemas.microsoft.com/office/powerpoint/2010/main" val="38102038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i="0" dirty="0"/>
          </a:p>
        </p:txBody>
      </p:sp>
      <p:sp>
        <p:nvSpPr>
          <p:cNvPr id="4" name="Slide Number Placeholder 3"/>
          <p:cNvSpPr>
            <a:spLocks noGrp="1"/>
          </p:cNvSpPr>
          <p:nvPr>
            <p:ph type="sldNum" sz="quarter" idx="5"/>
          </p:nvPr>
        </p:nvSpPr>
        <p:spPr/>
        <p:txBody>
          <a:bodyPr/>
          <a:lstStyle/>
          <a:p>
            <a:fld id="{9E4D9ABE-7AB9-4D3A-BEA5-45E799BD6C0E}" type="slidenum">
              <a:rPr lang="en-US" smtClean="0"/>
              <a:t>17</a:t>
            </a:fld>
            <a:endParaRPr lang="en-US" dirty="0"/>
          </a:p>
        </p:txBody>
      </p:sp>
    </p:spTree>
    <p:extLst>
      <p:ext uri="{BB962C8B-B14F-4D97-AF65-F5344CB8AC3E}">
        <p14:creationId xmlns:p14="http://schemas.microsoft.com/office/powerpoint/2010/main" val="36825316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18</a:t>
            </a:fld>
            <a:endParaRPr lang="en-US" dirty="0"/>
          </a:p>
        </p:txBody>
      </p:sp>
    </p:spTree>
    <p:extLst>
      <p:ext uri="{BB962C8B-B14F-4D97-AF65-F5344CB8AC3E}">
        <p14:creationId xmlns:p14="http://schemas.microsoft.com/office/powerpoint/2010/main" val="15348997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u="none" dirty="0"/>
          </a:p>
        </p:txBody>
      </p:sp>
      <p:sp>
        <p:nvSpPr>
          <p:cNvPr id="4" name="Slide Number Placeholder 3"/>
          <p:cNvSpPr>
            <a:spLocks noGrp="1"/>
          </p:cNvSpPr>
          <p:nvPr>
            <p:ph type="sldNum" sz="quarter" idx="5"/>
          </p:nvPr>
        </p:nvSpPr>
        <p:spPr/>
        <p:txBody>
          <a:bodyPr/>
          <a:lstStyle/>
          <a:p>
            <a:fld id="{9E4D9ABE-7AB9-4D3A-BEA5-45E799BD6C0E}" type="slidenum">
              <a:rPr lang="en-US" smtClean="0"/>
              <a:t>19</a:t>
            </a:fld>
            <a:endParaRPr lang="en-US" dirty="0"/>
          </a:p>
        </p:txBody>
      </p:sp>
    </p:spTree>
    <p:extLst>
      <p:ext uri="{BB962C8B-B14F-4D97-AF65-F5344CB8AC3E}">
        <p14:creationId xmlns:p14="http://schemas.microsoft.com/office/powerpoint/2010/main" val="3065217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0</a:t>
            </a:fld>
            <a:endParaRPr lang="en-US" dirty="0"/>
          </a:p>
        </p:txBody>
      </p:sp>
    </p:spTree>
    <p:extLst>
      <p:ext uri="{BB962C8B-B14F-4D97-AF65-F5344CB8AC3E}">
        <p14:creationId xmlns:p14="http://schemas.microsoft.com/office/powerpoint/2010/main" val="14008638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a:t>
            </a:fld>
            <a:endParaRPr lang="en-US" dirty="0"/>
          </a:p>
        </p:txBody>
      </p:sp>
    </p:spTree>
    <p:extLst>
      <p:ext uri="{BB962C8B-B14F-4D97-AF65-F5344CB8AC3E}">
        <p14:creationId xmlns:p14="http://schemas.microsoft.com/office/powerpoint/2010/main" val="31322199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u="none" dirty="0"/>
          </a:p>
        </p:txBody>
      </p:sp>
      <p:sp>
        <p:nvSpPr>
          <p:cNvPr id="4" name="Slide Number Placeholder 3"/>
          <p:cNvSpPr>
            <a:spLocks noGrp="1"/>
          </p:cNvSpPr>
          <p:nvPr>
            <p:ph type="sldNum" sz="quarter" idx="5"/>
          </p:nvPr>
        </p:nvSpPr>
        <p:spPr/>
        <p:txBody>
          <a:bodyPr/>
          <a:lstStyle/>
          <a:p>
            <a:fld id="{9E4D9ABE-7AB9-4D3A-BEA5-45E799BD6C0E}" type="slidenum">
              <a:rPr lang="en-US" smtClean="0"/>
              <a:t>21</a:t>
            </a:fld>
            <a:endParaRPr lang="en-US" dirty="0"/>
          </a:p>
        </p:txBody>
      </p:sp>
    </p:spTree>
    <p:extLst>
      <p:ext uri="{BB962C8B-B14F-4D97-AF65-F5344CB8AC3E}">
        <p14:creationId xmlns:p14="http://schemas.microsoft.com/office/powerpoint/2010/main" val="4281876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23018">
              <a:buNone/>
              <a:defRPr/>
            </a:pPr>
            <a:endParaRPr lang="en-US" b="0" dirty="0"/>
          </a:p>
        </p:txBody>
      </p:sp>
      <p:sp>
        <p:nvSpPr>
          <p:cNvPr id="4" name="Slide Number Placeholder 3"/>
          <p:cNvSpPr>
            <a:spLocks noGrp="1"/>
          </p:cNvSpPr>
          <p:nvPr>
            <p:ph type="sldNum" sz="quarter" idx="5"/>
          </p:nvPr>
        </p:nvSpPr>
        <p:spPr/>
        <p:txBody>
          <a:bodyPr/>
          <a:lstStyle/>
          <a:p>
            <a:fld id="{9E4D9ABE-7AB9-4D3A-BEA5-45E799BD6C0E}" type="slidenum">
              <a:rPr lang="en-US" smtClean="0"/>
              <a:t>22</a:t>
            </a:fld>
            <a:endParaRPr lang="en-US" dirty="0"/>
          </a:p>
        </p:txBody>
      </p:sp>
    </p:spTree>
    <p:extLst>
      <p:ext uri="{BB962C8B-B14F-4D97-AF65-F5344CB8AC3E}">
        <p14:creationId xmlns:p14="http://schemas.microsoft.com/office/powerpoint/2010/main" val="38430643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1C19E84-432F-4B13-8A59-CF116900378E}" type="slidenum">
              <a:rPr lang="en-US" smtClean="0"/>
              <a:t>26</a:t>
            </a:fld>
            <a:endParaRPr lang="en-US" dirty="0"/>
          </a:p>
        </p:txBody>
      </p:sp>
    </p:spTree>
    <p:extLst>
      <p:ext uri="{BB962C8B-B14F-4D97-AF65-F5344CB8AC3E}">
        <p14:creationId xmlns:p14="http://schemas.microsoft.com/office/powerpoint/2010/main" val="1371397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7</a:t>
            </a:fld>
            <a:endParaRPr lang="en-US" dirty="0"/>
          </a:p>
        </p:txBody>
      </p:sp>
    </p:spTree>
    <p:extLst>
      <p:ext uri="{BB962C8B-B14F-4D97-AF65-F5344CB8AC3E}">
        <p14:creationId xmlns:p14="http://schemas.microsoft.com/office/powerpoint/2010/main" val="1391571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8</a:t>
            </a:fld>
            <a:endParaRPr lang="en-US" dirty="0"/>
          </a:p>
        </p:txBody>
      </p:sp>
    </p:spTree>
    <p:extLst>
      <p:ext uri="{BB962C8B-B14F-4D97-AF65-F5344CB8AC3E}">
        <p14:creationId xmlns:p14="http://schemas.microsoft.com/office/powerpoint/2010/main" val="39675140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29</a:t>
            </a:fld>
            <a:endParaRPr lang="en-US" dirty="0"/>
          </a:p>
        </p:txBody>
      </p:sp>
    </p:spTree>
    <p:extLst>
      <p:ext uri="{BB962C8B-B14F-4D97-AF65-F5344CB8AC3E}">
        <p14:creationId xmlns:p14="http://schemas.microsoft.com/office/powerpoint/2010/main" val="31189999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0</a:t>
            </a:fld>
            <a:endParaRPr lang="en-US" dirty="0"/>
          </a:p>
        </p:txBody>
      </p:sp>
    </p:spTree>
    <p:extLst>
      <p:ext uri="{BB962C8B-B14F-4D97-AF65-F5344CB8AC3E}">
        <p14:creationId xmlns:p14="http://schemas.microsoft.com/office/powerpoint/2010/main" val="32590112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1</a:t>
            </a:fld>
            <a:endParaRPr lang="en-US" dirty="0"/>
          </a:p>
        </p:txBody>
      </p:sp>
    </p:spTree>
    <p:extLst>
      <p:ext uri="{BB962C8B-B14F-4D97-AF65-F5344CB8AC3E}">
        <p14:creationId xmlns:p14="http://schemas.microsoft.com/office/powerpoint/2010/main" val="3401419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2</a:t>
            </a:fld>
            <a:endParaRPr lang="en-US" dirty="0"/>
          </a:p>
        </p:txBody>
      </p:sp>
    </p:spTree>
    <p:extLst>
      <p:ext uri="{BB962C8B-B14F-4D97-AF65-F5344CB8AC3E}">
        <p14:creationId xmlns:p14="http://schemas.microsoft.com/office/powerpoint/2010/main" val="18214043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3</a:t>
            </a:fld>
            <a:endParaRPr lang="en-US" dirty="0"/>
          </a:p>
        </p:txBody>
      </p:sp>
    </p:spTree>
    <p:extLst>
      <p:ext uri="{BB962C8B-B14F-4D97-AF65-F5344CB8AC3E}">
        <p14:creationId xmlns:p14="http://schemas.microsoft.com/office/powerpoint/2010/main" val="16890665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a:t>
            </a:fld>
            <a:endParaRPr lang="en-US" dirty="0"/>
          </a:p>
        </p:txBody>
      </p:sp>
    </p:spTree>
    <p:extLst>
      <p:ext uri="{BB962C8B-B14F-4D97-AF65-F5344CB8AC3E}">
        <p14:creationId xmlns:p14="http://schemas.microsoft.com/office/powerpoint/2010/main" val="1019120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34</a:t>
            </a:fld>
            <a:endParaRPr lang="en-US" dirty="0"/>
          </a:p>
        </p:txBody>
      </p:sp>
    </p:spTree>
    <p:extLst>
      <p:ext uri="{BB962C8B-B14F-4D97-AF65-F5344CB8AC3E}">
        <p14:creationId xmlns:p14="http://schemas.microsoft.com/office/powerpoint/2010/main" val="37651447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9E4D9ABE-7AB9-4D3A-BEA5-45E799BD6C0E}" type="slidenum">
              <a:rPr lang="en-US" smtClean="0"/>
              <a:t>36</a:t>
            </a:fld>
            <a:endParaRPr lang="en-US" dirty="0"/>
          </a:p>
        </p:txBody>
      </p:sp>
    </p:spTree>
    <p:extLst>
      <p:ext uri="{BB962C8B-B14F-4D97-AF65-F5344CB8AC3E}">
        <p14:creationId xmlns:p14="http://schemas.microsoft.com/office/powerpoint/2010/main" val="19719523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4</a:t>
            </a:fld>
            <a:endParaRPr lang="en-US" dirty="0"/>
          </a:p>
        </p:txBody>
      </p:sp>
    </p:spTree>
    <p:extLst>
      <p:ext uri="{BB962C8B-B14F-4D97-AF65-F5344CB8AC3E}">
        <p14:creationId xmlns:p14="http://schemas.microsoft.com/office/powerpoint/2010/main" val="34570886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5</a:t>
            </a:fld>
            <a:endParaRPr lang="en-US" dirty="0"/>
          </a:p>
        </p:txBody>
      </p:sp>
    </p:spTree>
    <p:extLst>
      <p:ext uri="{BB962C8B-B14F-4D97-AF65-F5344CB8AC3E}">
        <p14:creationId xmlns:p14="http://schemas.microsoft.com/office/powerpoint/2010/main" val="1676475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9E4D9ABE-7AB9-4D3A-BEA5-45E799BD6C0E}" type="slidenum">
              <a:rPr lang="en-US" smtClean="0"/>
              <a:t>6</a:t>
            </a:fld>
            <a:endParaRPr lang="en-US" dirty="0"/>
          </a:p>
        </p:txBody>
      </p:sp>
    </p:spTree>
    <p:extLst>
      <p:ext uri="{BB962C8B-B14F-4D97-AF65-F5344CB8AC3E}">
        <p14:creationId xmlns:p14="http://schemas.microsoft.com/office/powerpoint/2010/main" val="1557499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7</a:t>
            </a:fld>
            <a:endParaRPr lang="en-US" dirty="0"/>
          </a:p>
        </p:txBody>
      </p:sp>
    </p:spTree>
    <p:extLst>
      <p:ext uri="{BB962C8B-B14F-4D97-AF65-F5344CB8AC3E}">
        <p14:creationId xmlns:p14="http://schemas.microsoft.com/office/powerpoint/2010/main" val="563966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8</a:t>
            </a:fld>
            <a:endParaRPr lang="en-US" dirty="0"/>
          </a:p>
        </p:txBody>
      </p:sp>
    </p:spTree>
    <p:extLst>
      <p:ext uri="{BB962C8B-B14F-4D97-AF65-F5344CB8AC3E}">
        <p14:creationId xmlns:p14="http://schemas.microsoft.com/office/powerpoint/2010/main" val="2978730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4D9ABE-7AB9-4D3A-BEA5-45E799BD6C0E}" type="slidenum">
              <a:rPr lang="en-US" smtClean="0"/>
              <a:t>9</a:t>
            </a:fld>
            <a:endParaRPr lang="en-US" dirty="0"/>
          </a:p>
        </p:txBody>
      </p:sp>
    </p:spTree>
    <p:extLst>
      <p:ext uri="{BB962C8B-B14F-4D97-AF65-F5344CB8AC3E}">
        <p14:creationId xmlns:p14="http://schemas.microsoft.com/office/powerpoint/2010/main" val="22822107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10" name="Picture 9" descr="A group of people sitting in a room&#10;&#10;Description automatically generated">
            <a:extLst>
              <a:ext uri="{FF2B5EF4-FFF2-40B4-BE49-F238E27FC236}">
                <a16:creationId xmlns:a16="http://schemas.microsoft.com/office/drawing/2014/main" id="{6FD7D95E-6B62-47ED-8187-0B1562D069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98" r="1178" b="24686"/>
          <a:stretch/>
        </p:blipFill>
        <p:spPr>
          <a:xfrm>
            <a:off x="0" y="1"/>
            <a:ext cx="12192000"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1"/>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75964"/>
            <a:ext cx="5507665" cy="2389625"/>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FD4AE78-D0EB-4A0B-B63F-8343844A88F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3494447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D5EBFA53-3D67-304C-8BAB-F461F2DE5244}"/>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1" name="Footer Placeholder 4">
            <a:extLst>
              <a:ext uri="{FF2B5EF4-FFF2-40B4-BE49-F238E27FC236}">
                <a16:creationId xmlns:a16="http://schemas.microsoft.com/office/drawing/2014/main" id="{E08215F0-AC27-C64F-9348-60129EF4301B}"/>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2" name="Date Placeholder 3">
            <a:extLst>
              <a:ext uri="{FF2B5EF4-FFF2-40B4-BE49-F238E27FC236}">
                <a16:creationId xmlns:a16="http://schemas.microsoft.com/office/drawing/2014/main" id="{0112C45B-F787-7C43-BB07-B2149464266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13" name="Slide Number Placeholder 5">
            <a:extLst>
              <a:ext uri="{FF2B5EF4-FFF2-40B4-BE49-F238E27FC236}">
                <a16:creationId xmlns:a16="http://schemas.microsoft.com/office/drawing/2014/main" id="{4FB4E1D8-148E-BB46-8227-70333E5A731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4" name="Picture 3" descr="Logo&#10;&#10;Description automatically generated">
            <a:extLst>
              <a:ext uri="{FF2B5EF4-FFF2-40B4-BE49-F238E27FC236}">
                <a16:creationId xmlns:a16="http://schemas.microsoft.com/office/drawing/2014/main" id="{F67056E4-3E14-4ED3-85AB-955E33A8DA4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501775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ED7E7471-44C5-463E-B019-1DAB8864F308}"/>
              </a:ext>
            </a:extLst>
          </p:cNvPr>
          <p:cNvSpPr>
            <a:spLocks noGrp="1"/>
          </p:cNvSpPr>
          <p:nvPr>
            <p:ph idx="13"/>
          </p:nvPr>
        </p:nvSpPr>
        <p:spPr>
          <a:xfrm>
            <a:off x="6450417" y="1304642"/>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B4ABE558-DBB8-C64A-B51B-A8140EAB3C3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2" name="Footer Placeholder 4">
            <a:extLst>
              <a:ext uri="{FF2B5EF4-FFF2-40B4-BE49-F238E27FC236}">
                <a16:creationId xmlns:a16="http://schemas.microsoft.com/office/drawing/2014/main" id="{520D4E2B-309B-AC4B-967F-9B15C61CC148}"/>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3" name="Date Placeholder 3">
            <a:extLst>
              <a:ext uri="{FF2B5EF4-FFF2-40B4-BE49-F238E27FC236}">
                <a16:creationId xmlns:a16="http://schemas.microsoft.com/office/drawing/2014/main" id="{83D23F3C-8686-ED41-A69E-216B386B960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14" name="Slide Number Placeholder 5">
            <a:extLst>
              <a:ext uri="{FF2B5EF4-FFF2-40B4-BE49-F238E27FC236}">
                <a16:creationId xmlns:a16="http://schemas.microsoft.com/office/drawing/2014/main" id="{BD27DAC6-0C5E-194D-B398-62D21A93A67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4" name="Picture 3" descr="Logo&#10;&#10;Description automatically generated">
            <a:extLst>
              <a:ext uri="{FF2B5EF4-FFF2-40B4-BE49-F238E27FC236}">
                <a16:creationId xmlns:a16="http://schemas.microsoft.com/office/drawing/2014/main" id="{95EFC259-BBAE-4DA5-B848-4DB59354A87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8884765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285424"/>
            <a:ext cx="538362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6428096" y="1285424"/>
            <a:ext cx="5405941"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6428097" y="1285424"/>
            <a:ext cx="538362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204B5868-DFC4-1A43-8743-6E68BA4257B7}"/>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4" name="Footer Placeholder 4">
            <a:extLst>
              <a:ext uri="{FF2B5EF4-FFF2-40B4-BE49-F238E27FC236}">
                <a16:creationId xmlns:a16="http://schemas.microsoft.com/office/drawing/2014/main" id="{32ECF530-48E5-5848-B2E1-9BC081B0DFB1}"/>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5" name="Date Placeholder 3">
            <a:extLst>
              <a:ext uri="{FF2B5EF4-FFF2-40B4-BE49-F238E27FC236}">
                <a16:creationId xmlns:a16="http://schemas.microsoft.com/office/drawing/2014/main" id="{0496040E-53E8-4343-B8A6-5CD8977655D2}"/>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16" name="Slide Number Placeholder 5">
            <a:extLst>
              <a:ext uri="{FF2B5EF4-FFF2-40B4-BE49-F238E27FC236}">
                <a16:creationId xmlns:a16="http://schemas.microsoft.com/office/drawing/2014/main" id="{401EF5C9-4012-EE46-BB4E-52AD584C52A5}"/>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4" name="Picture 3" descr="Logo&#10;&#10;Description automatically generated">
            <a:extLst>
              <a:ext uri="{FF2B5EF4-FFF2-40B4-BE49-F238E27FC236}">
                <a16:creationId xmlns:a16="http://schemas.microsoft.com/office/drawing/2014/main" id="{B82200EE-224B-415F-A726-90C5CBB2F8E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5879290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1E0729C3-ACF1-4E41-B822-FC5A03165595}"/>
              </a:ext>
            </a:extLst>
          </p:cNvPr>
          <p:cNvSpPr/>
          <p:nvPr userDrawn="1"/>
        </p:nvSpPr>
        <p:spPr>
          <a:xfrm>
            <a:off x="333375"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643187"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952999"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262811" y="3223527"/>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572623" y="3223291"/>
            <a:ext cx="2200275" cy="447675"/>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428749" y="2390136"/>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736180"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6048373"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336753"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563224"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0DA5B326-4BC0-484C-8A52-EB4943337D62}"/>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21" name="Footer Placeholder 4">
            <a:extLst>
              <a:ext uri="{FF2B5EF4-FFF2-40B4-BE49-F238E27FC236}">
                <a16:creationId xmlns:a16="http://schemas.microsoft.com/office/drawing/2014/main" id="{4142F996-DE7C-3E47-BA8A-BBC00F96DD25}"/>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22" name="Date Placeholder 3">
            <a:extLst>
              <a:ext uri="{FF2B5EF4-FFF2-40B4-BE49-F238E27FC236}">
                <a16:creationId xmlns:a16="http://schemas.microsoft.com/office/drawing/2014/main" id="{974DC2DB-1F0B-0942-9E0D-4F8920E60929}"/>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23" name="Slide Number Placeholder 5">
            <a:extLst>
              <a:ext uri="{FF2B5EF4-FFF2-40B4-BE49-F238E27FC236}">
                <a16:creationId xmlns:a16="http://schemas.microsoft.com/office/drawing/2014/main" id="{2B05FB37-2E5D-9D48-A9B7-C9217B4502DA}"/>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3" name="Picture 2" descr="Logo&#10;&#10;Description automatically generated">
            <a:extLst>
              <a:ext uri="{FF2B5EF4-FFF2-40B4-BE49-F238E27FC236}">
                <a16:creationId xmlns:a16="http://schemas.microsoft.com/office/drawing/2014/main" id="{9917D098-5A09-4869-B309-8E88CBD6B8E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8579403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712381" y="1239202"/>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712380"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6909500"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6941734"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759538" y="1286467"/>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759537" y="3788533"/>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6956658"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036051"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2960968C-3F33-C64B-A2A1-E1BACC190A76}"/>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9" name="Footer Placeholder 4">
            <a:extLst>
              <a:ext uri="{FF2B5EF4-FFF2-40B4-BE49-F238E27FC236}">
                <a16:creationId xmlns:a16="http://schemas.microsoft.com/office/drawing/2014/main" id="{607386F5-F54A-234D-AC30-C50F06D59500}"/>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20" name="Date Placeholder 3">
            <a:extLst>
              <a:ext uri="{FF2B5EF4-FFF2-40B4-BE49-F238E27FC236}">
                <a16:creationId xmlns:a16="http://schemas.microsoft.com/office/drawing/2014/main" id="{A01B6C27-68DF-A946-B076-AD57BBA02C63}"/>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21" name="Slide Number Placeholder 5">
            <a:extLst>
              <a:ext uri="{FF2B5EF4-FFF2-40B4-BE49-F238E27FC236}">
                <a16:creationId xmlns:a16="http://schemas.microsoft.com/office/drawing/2014/main" id="{10949CC2-4815-9040-AE29-DA865A2CF2F3}"/>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3" name="Picture 2" descr="Logo&#10;&#10;Description automatically generated">
            <a:extLst>
              <a:ext uri="{FF2B5EF4-FFF2-40B4-BE49-F238E27FC236}">
                <a16:creationId xmlns:a16="http://schemas.microsoft.com/office/drawing/2014/main" id="{4775AFD9-BEE3-425F-9AB3-3335000DBB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10157514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BE51F148-FE22-5F4B-9656-B9FD0B31FA6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1" name="Footer Placeholder 4">
            <a:extLst>
              <a:ext uri="{FF2B5EF4-FFF2-40B4-BE49-F238E27FC236}">
                <a16:creationId xmlns:a16="http://schemas.microsoft.com/office/drawing/2014/main" id="{61D1E651-A636-ED44-8643-D87936B7D41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2" name="Date Placeholder 3">
            <a:extLst>
              <a:ext uri="{FF2B5EF4-FFF2-40B4-BE49-F238E27FC236}">
                <a16:creationId xmlns:a16="http://schemas.microsoft.com/office/drawing/2014/main" id="{5E373F66-282B-C84A-9B7B-612F107B44FB}"/>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13" name="Slide Number Placeholder 5">
            <a:extLst>
              <a:ext uri="{FF2B5EF4-FFF2-40B4-BE49-F238E27FC236}">
                <a16:creationId xmlns:a16="http://schemas.microsoft.com/office/drawing/2014/main" id="{F3B3F59D-D4CA-7848-B38D-767519517860}"/>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3" name="Picture 2" descr="Logo&#10;&#10;Description automatically generated">
            <a:extLst>
              <a:ext uri="{FF2B5EF4-FFF2-40B4-BE49-F238E27FC236}">
                <a16:creationId xmlns:a16="http://schemas.microsoft.com/office/drawing/2014/main" id="{57E9B9A6-20E0-4E5C-B982-427BF76498E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805017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19CEFC9-AAA7-49A4-8FDC-F89E6009086A}"/>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descr="A close up of a sign&#10;&#10;Description automatically generated">
            <a:extLst>
              <a:ext uri="{FF2B5EF4-FFF2-40B4-BE49-F238E27FC236}">
                <a16:creationId xmlns:a16="http://schemas.microsoft.com/office/drawing/2014/main" id="{B7C878DE-4C84-4F9E-B3A9-9F718A6DAF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5" name="Rectangle 4">
            <a:extLst>
              <a:ext uri="{FF2B5EF4-FFF2-40B4-BE49-F238E27FC236}">
                <a16:creationId xmlns:a16="http://schemas.microsoft.com/office/drawing/2014/main" id="{29B79DAE-CFAF-404D-BC10-36DC7525CF58}"/>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6" name="Footer Placeholder 4">
            <a:extLst>
              <a:ext uri="{FF2B5EF4-FFF2-40B4-BE49-F238E27FC236}">
                <a16:creationId xmlns:a16="http://schemas.microsoft.com/office/drawing/2014/main" id="{F4EABCAA-819D-3348-9451-F8B72E04B52C}"/>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7" name="Date Placeholder 3">
            <a:extLst>
              <a:ext uri="{FF2B5EF4-FFF2-40B4-BE49-F238E27FC236}">
                <a16:creationId xmlns:a16="http://schemas.microsoft.com/office/drawing/2014/main" id="{696E019A-A2E1-144B-A66D-D804B12991D5}"/>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8" name="Slide Number Placeholder 5">
            <a:extLst>
              <a:ext uri="{FF2B5EF4-FFF2-40B4-BE49-F238E27FC236}">
                <a16:creationId xmlns:a16="http://schemas.microsoft.com/office/drawing/2014/main" id="{FCA4099B-DB89-0449-ADCC-A2078A708396}"/>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2" name="Picture 1" descr="Logo&#10;&#10;Description automatically generated">
            <a:extLst>
              <a:ext uri="{FF2B5EF4-FFF2-40B4-BE49-F238E27FC236}">
                <a16:creationId xmlns:a16="http://schemas.microsoft.com/office/drawing/2014/main" id="{26C6628B-B955-4A06-A2D2-F2637EC1E69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25391118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C9CA210-FEED-684B-A2A9-F54EDD7D2C65}"/>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04B7C4E4-2D06-490E-9697-F8F066CE1C1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pic>
        <p:nvPicPr>
          <p:cNvPr id="10" name="Picture 9" descr="A close up of a sign&#10;&#10;Description automatically generated">
            <a:extLst>
              <a:ext uri="{FF2B5EF4-FFF2-40B4-BE49-F238E27FC236}">
                <a16:creationId xmlns:a16="http://schemas.microsoft.com/office/drawing/2014/main" id="{930A1659-99D2-374C-97EA-2635D11528A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11" name="Title 1">
            <a:extLst>
              <a:ext uri="{FF2B5EF4-FFF2-40B4-BE49-F238E27FC236}">
                <a16:creationId xmlns:a16="http://schemas.microsoft.com/office/drawing/2014/main" id="{E90F83D7-4EC5-EE4E-83F7-C835C5446C8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3" name="Picture 2" descr="Logo, company name&#10;&#10;Description automatically generated">
            <a:extLst>
              <a:ext uri="{FF2B5EF4-FFF2-40B4-BE49-F238E27FC236}">
                <a16:creationId xmlns:a16="http://schemas.microsoft.com/office/drawing/2014/main" id="{C1ADDC4B-24B4-4987-8301-62AC6401666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7101676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BD0F88F-B66B-F745-BA33-0143C27E5F2D}"/>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tx1">
                    <a:lumMod val="65000"/>
                    <a:lumOff val="35000"/>
                  </a:schemeClr>
                </a:solidFill>
              </a:defRPr>
            </a:lvl1pPr>
            <a:lvl2pPr marL="800100" indent="-342900">
              <a:buClr>
                <a:srgbClr val="0D6CB9"/>
              </a:buClr>
              <a:buFont typeface="Arial" panose="020B0604020202020204" pitchFamily="34" charset="0"/>
              <a:buChar char="•"/>
              <a:defRPr>
                <a:solidFill>
                  <a:schemeClr val="tx1">
                    <a:lumMod val="65000"/>
                    <a:lumOff val="35000"/>
                  </a:schemeClr>
                </a:solidFill>
              </a:defRPr>
            </a:lvl2pPr>
            <a:lvl3pPr marL="1143000" indent="-228600">
              <a:buClr>
                <a:schemeClr val="accent2"/>
              </a:buClr>
              <a:buSzPct val="75000"/>
              <a:buFont typeface="Courier New" panose="02070309020205020404" pitchFamily="49" charset="0"/>
              <a:buChar char="o"/>
              <a:defRPr>
                <a:solidFill>
                  <a:schemeClr val="tx1">
                    <a:lumMod val="65000"/>
                    <a:lumOff val="35000"/>
                  </a:schemeClr>
                </a:solidFill>
              </a:defRPr>
            </a:lvl3pPr>
            <a:lvl4pPr marL="1600200" indent="-228600">
              <a:buClr>
                <a:srgbClr val="0D6CB9"/>
              </a:buClr>
              <a:buFont typeface="Arial" panose="020B0604020202020204" pitchFamily="34" charset="0"/>
              <a:buChar char="•"/>
              <a:defRPr>
                <a:solidFill>
                  <a:schemeClr val="tx1">
                    <a:lumMod val="65000"/>
                    <a:lumOff val="35000"/>
                  </a:schemeClr>
                </a:solidFill>
              </a:defRPr>
            </a:lvl4pPr>
            <a:lvl5pPr>
              <a:buClr>
                <a:schemeClr val="accent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a:extLst>
              <a:ext uri="{FF2B5EF4-FFF2-40B4-BE49-F238E27FC236}">
                <a16:creationId xmlns:a16="http://schemas.microsoft.com/office/drawing/2014/main" id="{CFFA6AE0-F5B6-6E49-8BB3-4004BFDD1F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Date Placeholder 3">
            <a:extLst>
              <a:ext uri="{FF2B5EF4-FFF2-40B4-BE49-F238E27FC236}">
                <a16:creationId xmlns:a16="http://schemas.microsoft.com/office/drawing/2014/main" id="{F9FB4947-4D5F-954E-B552-4F263C8E987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4" name="Picture 23" descr="A close up of a sign&#10;&#10;Description automatically generated">
            <a:extLst>
              <a:ext uri="{FF2B5EF4-FFF2-40B4-BE49-F238E27FC236}">
                <a16:creationId xmlns:a16="http://schemas.microsoft.com/office/drawing/2014/main" id="{D2FE67E8-1825-AB4D-A7FC-30A73E3B0E8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498E68E3-D6C5-9245-99A9-607F1E2B05EC}"/>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9BBBBBA0-AAB0-4BC2-BDF1-8C90CA9DFF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7747359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76E93DA6-A186-9940-9961-AE9EAE17F18C}"/>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7A2EAA20-EA13-F943-95AF-7156B689A8C1}"/>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Date Placeholder 3">
            <a:extLst>
              <a:ext uri="{FF2B5EF4-FFF2-40B4-BE49-F238E27FC236}">
                <a16:creationId xmlns:a16="http://schemas.microsoft.com/office/drawing/2014/main" id="{49262BE9-D596-EE49-8507-B79D803EBB4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2" name="Picture 21" descr="A close up of a sign&#10;&#10;Description automatically generated">
            <a:extLst>
              <a:ext uri="{FF2B5EF4-FFF2-40B4-BE49-F238E27FC236}">
                <a16:creationId xmlns:a16="http://schemas.microsoft.com/office/drawing/2014/main" id="{910B0988-AF98-C545-A6AB-AD57B467B0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3" name="Title 1">
            <a:extLst>
              <a:ext uri="{FF2B5EF4-FFF2-40B4-BE49-F238E27FC236}">
                <a16:creationId xmlns:a16="http://schemas.microsoft.com/office/drawing/2014/main" id="{BD5D7554-A478-8645-A569-84934EC2D6AE}"/>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13A586B6-7406-43F8-B07F-A8BD953D18A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41151390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descr="A group of people walking on a bridge&#10;&#10;Description automatically generated">
            <a:extLst>
              <a:ext uri="{FF2B5EF4-FFF2-40B4-BE49-F238E27FC236}">
                <a16:creationId xmlns:a16="http://schemas.microsoft.com/office/drawing/2014/main" id="{45223C62-28C3-4635-9AE9-ABBD588FC761}"/>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1888" b="4042"/>
          <a:stretch/>
        </p:blipFill>
        <p:spPr>
          <a:xfrm>
            <a:off x="0" y="0"/>
            <a:ext cx="12217429"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48669"/>
            <a:ext cx="5507665" cy="2416920"/>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B2691C8-17BF-4178-8EB9-778DEDDB1A7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36131612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Title and Content">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577DCAAF-B02B-B24A-8AB0-956BA9E81D63}"/>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Rectangle 12">
            <a:extLst>
              <a:ext uri="{FF2B5EF4-FFF2-40B4-BE49-F238E27FC236}">
                <a16:creationId xmlns:a16="http://schemas.microsoft.com/office/drawing/2014/main" id="{4128DAB3-C658-FA4C-9183-4169F5C77E36}"/>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Date Placeholder 3">
            <a:extLst>
              <a:ext uri="{FF2B5EF4-FFF2-40B4-BE49-F238E27FC236}">
                <a16:creationId xmlns:a16="http://schemas.microsoft.com/office/drawing/2014/main" id="{53DBDFD6-DCC5-FE4D-9B49-5F5722AB86B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4" name="Picture 23" descr="A close up of a sign&#10;&#10;Description automatically generated">
            <a:extLst>
              <a:ext uri="{FF2B5EF4-FFF2-40B4-BE49-F238E27FC236}">
                <a16:creationId xmlns:a16="http://schemas.microsoft.com/office/drawing/2014/main" id="{8C24448D-6ADF-8442-A000-775910CD0D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5" name="Title 1">
            <a:extLst>
              <a:ext uri="{FF2B5EF4-FFF2-40B4-BE49-F238E27FC236}">
                <a16:creationId xmlns:a16="http://schemas.microsoft.com/office/drawing/2014/main" id="{1165CA6F-4364-244F-9ABF-4E81C4523BA3}"/>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4973D2B0-1CE9-493B-9925-CD6B89614F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1755101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Title and Content">
    <p:spTree>
      <p:nvGrpSpPr>
        <p:cNvPr id="1" name=""/>
        <p:cNvGrpSpPr/>
        <p:nvPr/>
      </p:nvGrpSpPr>
      <p:grpSpPr>
        <a:xfrm>
          <a:off x="0" y="0"/>
          <a:ext cx="0" cy="0"/>
          <a:chOff x="0" y="0"/>
          <a:chExt cx="0" cy="0"/>
        </a:xfrm>
      </p:grpSpPr>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523919"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833731"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4354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53355"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616912"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929105"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217485"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43956"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A2BD7F4-C9CD-5E45-8A88-B96A3E033E78}"/>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EB4592BA-DF80-CC4D-BC9D-88314565611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Date Placeholder 3">
            <a:extLst>
              <a:ext uri="{FF2B5EF4-FFF2-40B4-BE49-F238E27FC236}">
                <a16:creationId xmlns:a16="http://schemas.microsoft.com/office/drawing/2014/main" id="{C9F3F664-C802-7249-A764-71E581FA3D84}"/>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34" name="Picture 33" descr="A close up of a sign&#10;&#10;Description automatically generated">
            <a:extLst>
              <a:ext uri="{FF2B5EF4-FFF2-40B4-BE49-F238E27FC236}">
                <a16:creationId xmlns:a16="http://schemas.microsoft.com/office/drawing/2014/main" id="{D467C9B8-BC4D-7F47-8AA0-AA2F4BE0A2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5" name="Title 1">
            <a:extLst>
              <a:ext uri="{FF2B5EF4-FFF2-40B4-BE49-F238E27FC236}">
                <a16:creationId xmlns:a16="http://schemas.microsoft.com/office/drawing/2014/main" id="{6D8DE5CC-1AD4-EE46-B391-85AE43951FAF}"/>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CAF8FDEC-6588-41D9-99DC-18FE86AD052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18906788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Title and Content">
    <p:spTree>
      <p:nvGrpSpPr>
        <p:cNvPr id="1" name=""/>
        <p:cNvGrpSpPr/>
        <p:nvPr/>
      </p:nvGrpSpPr>
      <p:grpSpPr>
        <a:xfrm>
          <a:off x="0" y="0"/>
          <a:ext cx="0" cy="0"/>
          <a:chOff x="0" y="0"/>
          <a:chExt cx="0" cy="0"/>
        </a:xfrm>
      </p:grpSpPr>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tx1">
                    <a:lumMod val="65000"/>
                    <a:lumOff val="35000"/>
                  </a:schemeClr>
                </a:solidFill>
              </a:defRPr>
            </a:lvl1pPr>
            <a:lvl2pPr marL="800100" indent="-3429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tx1">
                    <a:lumMod val="65000"/>
                    <a:lumOff val="35000"/>
                  </a:schemeClr>
                </a:solidFill>
              </a:defRPr>
            </a:lvl1pPr>
            <a:lvl2pPr marL="685800" indent="-228600">
              <a:buClr>
                <a:srgbClr val="0D6CB9"/>
              </a:buClr>
              <a:buFont typeface="Arial" panose="020B0604020202020204" pitchFamily="34" charset="0"/>
              <a:buChar char="•"/>
              <a:defRPr sz="2000">
                <a:solidFill>
                  <a:schemeClr val="tx1">
                    <a:lumMod val="65000"/>
                    <a:lumOff val="35000"/>
                  </a:schemeClr>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pic>
        <p:nvPicPr>
          <p:cNvPr id="25" name="Picture 24" descr="A close up of a sign&#10;&#10;Description automatically generated">
            <a:extLst>
              <a:ext uri="{FF2B5EF4-FFF2-40B4-BE49-F238E27FC236}">
                <a16:creationId xmlns:a16="http://schemas.microsoft.com/office/drawing/2014/main" id="{FDDB49D4-8143-9B46-A2E3-F54C2E2C226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27" name="Date Placeholder 3">
            <a:extLst>
              <a:ext uri="{FF2B5EF4-FFF2-40B4-BE49-F238E27FC236}">
                <a16:creationId xmlns:a16="http://schemas.microsoft.com/office/drawing/2014/main" id="{E45AD176-A492-564A-9120-30D5931E75EB}"/>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sp>
        <p:nvSpPr>
          <p:cNvPr id="28" name="Rectangle 27">
            <a:extLst>
              <a:ext uri="{FF2B5EF4-FFF2-40B4-BE49-F238E27FC236}">
                <a16:creationId xmlns:a16="http://schemas.microsoft.com/office/drawing/2014/main" id="{FA2D2368-DB91-5641-B72D-CAD3B3692E26}"/>
              </a:ext>
            </a:extLst>
          </p:cNvPr>
          <p:cNvSpPr/>
          <p:nvPr userDrawn="1"/>
        </p:nvSpPr>
        <p:spPr>
          <a:xfrm>
            <a:off x="0" y="755373"/>
            <a:ext cx="12192000" cy="160571"/>
          </a:xfrm>
          <a:prstGeom prst="rect">
            <a:avLst/>
          </a:prstGeom>
          <a:solidFill>
            <a:schemeClr val="accent2">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42FE50E5-E585-294D-8EA1-6FF47F94FAEF}"/>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Date Placeholder 3">
            <a:extLst>
              <a:ext uri="{FF2B5EF4-FFF2-40B4-BE49-F238E27FC236}">
                <a16:creationId xmlns:a16="http://schemas.microsoft.com/office/drawing/2014/main" id="{24516B70-534E-B846-AFCE-7DEC40C1C0F1}"/>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3/2022</a:t>
            </a:fld>
            <a:endParaRPr lang="en-US" dirty="0"/>
          </a:p>
        </p:txBody>
      </p:sp>
      <p:pic>
        <p:nvPicPr>
          <p:cNvPr id="31" name="Picture 30" descr="A close up of a sign&#10;&#10;Description automatically generated">
            <a:extLst>
              <a:ext uri="{FF2B5EF4-FFF2-40B4-BE49-F238E27FC236}">
                <a16:creationId xmlns:a16="http://schemas.microsoft.com/office/drawing/2014/main" id="{1D042591-5AE2-0747-992B-D8913100411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sp>
        <p:nvSpPr>
          <p:cNvPr id="32" name="Title 1">
            <a:extLst>
              <a:ext uri="{FF2B5EF4-FFF2-40B4-BE49-F238E27FC236}">
                <a16:creationId xmlns:a16="http://schemas.microsoft.com/office/drawing/2014/main" id="{6BF1E2C7-B4C7-9940-9534-D5A78B0DBD66}"/>
              </a:ext>
            </a:extLst>
          </p:cNvPr>
          <p:cNvSpPr>
            <a:spLocks noGrp="1"/>
          </p:cNvSpPr>
          <p:nvPr>
            <p:ph type="title" hasCustomPrompt="1"/>
          </p:nvPr>
        </p:nvSpPr>
        <p:spPr>
          <a:xfrm>
            <a:off x="2212290" y="199694"/>
            <a:ext cx="9515883" cy="542429"/>
          </a:xfrm>
        </p:spPr>
        <p:txBody>
          <a:bodyPr>
            <a:normAutofit/>
          </a:bodyPr>
          <a:lstStyle>
            <a:lvl1pPr algn="l">
              <a:defRPr sz="3600">
                <a:solidFill>
                  <a:srgbClr val="0D6CB9"/>
                </a:solidFill>
                <a:latin typeface="+mn-lt"/>
              </a:defRPr>
            </a:lvl1pPr>
          </a:lstStyle>
          <a:p>
            <a:r>
              <a:rPr lang="en-US"/>
              <a:t>Click to add header</a:t>
            </a:r>
          </a:p>
        </p:txBody>
      </p:sp>
      <p:pic>
        <p:nvPicPr>
          <p:cNvPr id="2" name="Picture 1" descr="Logo, company name&#10;&#10;Description automatically generated">
            <a:extLst>
              <a:ext uri="{FF2B5EF4-FFF2-40B4-BE49-F238E27FC236}">
                <a16:creationId xmlns:a16="http://schemas.microsoft.com/office/drawing/2014/main" id="{5BF0BE0F-8278-429A-ABC4-48862EE15D9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5834570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1_Title and Content">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51BE9050-50FF-4330-8FD2-DAA2A68D4BF7}"/>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3/2022</a:t>
            </a:fld>
            <a:endParaRPr lang="en-US" dirty="0"/>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Tree>
    <p:extLst>
      <p:ext uri="{BB962C8B-B14F-4D97-AF65-F5344CB8AC3E}">
        <p14:creationId xmlns:p14="http://schemas.microsoft.com/office/powerpoint/2010/main" val="37634836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17A0E8C-5BD7-4700-910D-186567B7387F}"/>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ooter Placeholder 4">
            <a:extLst>
              <a:ext uri="{FF2B5EF4-FFF2-40B4-BE49-F238E27FC236}">
                <a16:creationId xmlns:a16="http://schemas.microsoft.com/office/drawing/2014/main" id="{525C8F73-2D17-4CBB-8381-D1323C9DA8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5" name="Slide Number Placeholder 5">
            <a:extLst>
              <a:ext uri="{FF2B5EF4-FFF2-40B4-BE49-F238E27FC236}">
                <a16:creationId xmlns:a16="http://schemas.microsoft.com/office/drawing/2014/main" id="{B333C5E1-1EDD-41B7-9D2F-B0420BABB61A}"/>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01841" y="167275"/>
            <a:ext cx="9630770"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47415" y="1495651"/>
            <a:ext cx="8988726"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a:extLst>
              <a:ext uri="{FF2B5EF4-FFF2-40B4-BE49-F238E27FC236}">
                <a16:creationId xmlns:a16="http://schemas.microsoft.com/office/drawing/2014/main" id="{919BB631-3C3A-404F-9486-4A9AD6558D7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Date Placeholder 3">
            <a:extLst>
              <a:ext uri="{FF2B5EF4-FFF2-40B4-BE49-F238E27FC236}">
                <a16:creationId xmlns:a16="http://schemas.microsoft.com/office/drawing/2014/main" id="{77C9D04E-46AF-E54D-9D39-9FEF71633000}"/>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19" name="Picture 18" descr="A close up of a sign&#10;&#10;Description automatically generated">
            <a:extLst>
              <a:ext uri="{FF2B5EF4-FFF2-40B4-BE49-F238E27FC236}">
                <a16:creationId xmlns:a16="http://schemas.microsoft.com/office/drawing/2014/main" id="{DAF1344F-A4C1-B246-84D0-1D67018FF5F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715CADD9-290D-480D-B381-B762CBC85C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5986490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Title and Conten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0C87E2D-FAD5-4CD6-9B9E-DF4D175EE0DC}"/>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Date Placeholder 3">
            <a:extLst>
              <a:ext uri="{FF2B5EF4-FFF2-40B4-BE49-F238E27FC236}">
                <a16:creationId xmlns:a16="http://schemas.microsoft.com/office/drawing/2014/main" id="{E4F90356-E557-4622-94C2-A683DA8E878E}"/>
              </a:ext>
            </a:extLst>
          </p:cNvPr>
          <p:cNvSpPr>
            <a:spLocks noGrp="1"/>
          </p:cNvSpPr>
          <p:nvPr>
            <p:ph type="dt" sz="half" idx="10"/>
          </p:nvPr>
        </p:nvSpPr>
        <p:spPr>
          <a:xfrm>
            <a:off x="627797" y="6492875"/>
            <a:ext cx="2743200" cy="365125"/>
          </a:xfrm>
        </p:spPr>
        <p:txBody>
          <a:bodyPr/>
          <a:lstStyle/>
          <a:p>
            <a:fld id="{FA6A0AD2-53AF-4D84-8AC9-3DBC493F2F75}" type="datetimeFigureOut">
              <a:rPr lang="en-US" smtClean="0"/>
              <a:t>3/23/2022</a:t>
            </a:fld>
            <a:endParaRPr lang="en-US" dirty="0"/>
          </a:p>
        </p:txBody>
      </p:sp>
      <p:sp>
        <p:nvSpPr>
          <p:cNvPr id="14" name="Footer Placeholder 4">
            <a:extLst>
              <a:ext uri="{FF2B5EF4-FFF2-40B4-BE49-F238E27FC236}">
                <a16:creationId xmlns:a16="http://schemas.microsoft.com/office/drawing/2014/main" id="{969B0202-9DFD-4FCF-891E-B47E47F360B9}"/>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5" name="Slide Number Placeholder 5">
            <a:extLst>
              <a:ext uri="{FF2B5EF4-FFF2-40B4-BE49-F238E27FC236}">
                <a16:creationId xmlns:a16="http://schemas.microsoft.com/office/drawing/2014/main" id="{3887BB70-7752-40F0-9AD0-27AB3E938EEF}"/>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320119" y="153230"/>
            <a:ext cx="9513918"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320118" y="1495651"/>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A07FE31F-6F7C-45E4-8003-85B28143C0EE}"/>
              </a:ext>
            </a:extLst>
          </p:cNvPr>
          <p:cNvSpPr>
            <a:spLocks noGrp="1"/>
          </p:cNvSpPr>
          <p:nvPr>
            <p:ph idx="13"/>
          </p:nvPr>
        </p:nvSpPr>
        <p:spPr>
          <a:xfrm>
            <a:off x="7077078" y="1478675"/>
            <a:ext cx="4462819"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a:extLst>
              <a:ext uri="{FF2B5EF4-FFF2-40B4-BE49-F238E27FC236}">
                <a16:creationId xmlns:a16="http://schemas.microsoft.com/office/drawing/2014/main" id="{9757E269-44EA-2844-9B22-F017403D625E}"/>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Date Placeholder 3">
            <a:extLst>
              <a:ext uri="{FF2B5EF4-FFF2-40B4-BE49-F238E27FC236}">
                <a16:creationId xmlns:a16="http://schemas.microsoft.com/office/drawing/2014/main" id="{AEB296D3-703D-C04F-9ED9-0F2A0F4651CC}"/>
              </a:ext>
            </a:extLst>
          </p:cNvPr>
          <p:cNvSpPr txBox="1">
            <a:spLocks/>
          </p:cNvSpPr>
          <p:nvPr userDrawn="1"/>
        </p:nvSpPr>
        <p:spPr>
          <a:xfrm>
            <a:off x="243484" y="6492875"/>
            <a:ext cx="1585316"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A6A0AD2-53AF-4D84-8AC9-3DBC493F2F75}" type="datetimeFigureOut">
              <a:rPr lang="en-US" smtClean="0"/>
              <a:pPr/>
              <a:t>3/23/2022</a:t>
            </a:fld>
            <a:endParaRPr lang="en-US" dirty="0"/>
          </a:p>
        </p:txBody>
      </p:sp>
      <p:pic>
        <p:nvPicPr>
          <p:cNvPr id="20" name="Picture 19" descr="A close up of a sign&#10;&#10;Description automatically generated">
            <a:extLst>
              <a:ext uri="{FF2B5EF4-FFF2-40B4-BE49-F238E27FC236}">
                <a16:creationId xmlns:a16="http://schemas.microsoft.com/office/drawing/2014/main" id="{4DF7DD12-0BD0-204E-A4BA-F2E71254F3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46102D5F-B5B3-44E7-B63C-D3C34DEFE14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23491933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7_Title and Conten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8F225BF-6018-4E25-96E5-020EDE4E074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ooter Placeholder 4">
            <a:extLst>
              <a:ext uri="{FF2B5EF4-FFF2-40B4-BE49-F238E27FC236}">
                <a16:creationId xmlns:a16="http://schemas.microsoft.com/office/drawing/2014/main" id="{A6ECAAA4-813E-4564-BA0D-541DE6772C2B}"/>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19" name="Slide Number Placeholder 5">
            <a:extLst>
              <a:ext uri="{FF2B5EF4-FFF2-40B4-BE49-F238E27FC236}">
                <a16:creationId xmlns:a16="http://schemas.microsoft.com/office/drawing/2014/main" id="{627CC05B-DA50-4521-98AC-7116F4C5024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58408" y="164595"/>
            <a:ext cx="9919861"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2251880" y="1285424"/>
            <a:ext cx="5308980"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0F97521C-1BCE-4078-A60B-0FB9F0B5528E}"/>
              </a:ext>
            </a:extLst>
          </p:cNvPr>
          <p:cNvSpPr/>
          <p:nvPr userDrawn="1"/>
        </p:nvSpPr>
        <p:spPr>
          <a:xfrm>
            <a:off x="7719237" y="1285424"/>
            <a:ext cx="4114800" cy="435133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9">
            <a:extLst>
              <a:ext uri="{FF2B5EF4-FFF2-40B4-BE49-F238E27FC236}">
                <a16:creationId xmlns:a16="http://schemas.microsoft.com/office/drawing/2014/main" id="{4B1717F6-064F-44CB-A093-DF09DFF51A7D}"/>
              </a:ext>
            </a:extLst>
          </p:cNvPr>
          <p:cNvSpPr>
            <a:spLocks noGrp="1"/>
          </p:cNvSpPr>
          <p:nvPr>
            <p:ph type="body" sz="quarter" idx="13"/>
          </p:nvPr>
        </p:nvSpPr>
        <p:spPr>
          <a:xfrm>
            <a:off x="7719237" y="1285424"/>
            <a:ext cx="409248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FF8F072F-C70B-384C-BB1F-23F1D691A60B}"/>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Date Placeholder 3">
            <a:extLst>
              <a:ext uri="{FF2B5EF4-FFF2-40B4-BE49-F238E27FC236}">
                <a16:creationId xmlns:a16="http://schemas.microsoft.com/office/drawing/2014/main" id="{D7719160-ED60-8045-8675-2D2E52240999}"/>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1" name="Picture 20" descr="A close up of a sign&#10;&#10;Description automatically generated">
            <a:extLst>
              <a:ext uri="{FF2B5EF4-FFF2-40B4-BE49-F238E27FC236}">
                <a16:creationId xmlns:a16="http://schemas.microsoft.com/office/drawing/2014/main" id="{ECDAB876-A886-C54C-ACB6-BF7126E39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0CB36AA6-6A09-4EF9-94EF-52554048B0E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6078154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Title and Content">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C02CBCA-AFCA-4598-B68B-76039CBECC82}"/>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Footer Placeholder 4">
            <a:extLst>
              <a:ext uri="{FF2B5EF4-FFF2-40B4-BE49-F238E27FC236}">
                <a16:creationId xmlns:a16="http://schemas.microsoft.com/office/drawing/2014/main" id="{67CC9ED6-411A-4AA2-93D9-7C6C1FA6EC0C}"/>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25" name="Slide Number Placeholder 5">
            <a:extLst>
              <a:ext uri="{FF2B5EF4-FFF2-40B4-BE49-F238E27FC236}">
                <a16:creationId xmlns:a16="http://schemas.microsoft.com/office/drawing/2014/main" id="{164CE446-9449-45AF-9B88-2402D6E072B4}"/>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47249" y="168668"/>
            <a:ext cx="9884676" cy="751350"/>
          </a:xfrm>
        </p:spPr>
        <p:txBody>
          <a:bodyPr>
            <a:normAutofit/>
          </a:bodyPr>
          <a:lstStyle>
            <a:lvl1pPr algn="l">
              <a:defRPr sz="3600">
                <a:solidFill>
                  <a:schemeClr val="accent1"/>
                </a:solidFill>
                <a:latin typeface="+mn-lt"/>
              </a:defRPr>
            </a:lvl1pPr>
          </a:lstStyle>
          <a:p>
            <a:r>
              <a:rPr lang="en-US"/>
              <a:t>Click to add header</a:t>
            </a:r>
          </a:p>
        </p:txBody>
      </p:sp>
      <p:sp>
        <p:nvSpPr>
          <p:cNvPr id="11" name="Rectangle 10">
            <a:extLst>
              <a:ext uri="{FF2B5EF4-FFF2-40B4-BE49-F238E27FC236}">
                <a16:creationId xmlns:a16="http://schemas.microsoft.com/office/drawing/2014/main" id="{3C630556-1203-444D-9406-8EE318B5B62D}"/>
              </a:ext>
            </a:extLst>
          </p:cNvPr>
          <p:cNvSpPr/>
          <p:nvPr userDrawn="1"/>
        </p:nvSpPr>
        <p:spPr>
          <a:xfrm>
            <a:off x="2484163"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15910CA-54F1-4812-905F-477F1B94A069}"/>
              </a:ext>
            </a:extLst>
          </p:cNvPr>
          <p:cNvSpPr/>
          <p:nvPr userDrawn="1"/>
        </p:nvSpPr>
        <p:spPr>
          <a:xfrm>
            <a:off x="4793975"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1312D5BA-B9DC-4C3A-8F29-0221C1A88107}"/>
              </a:ext>
            </a:extLst>
          </p:cNvPr>
          <p:cNvSpPr/>
          <p:nvPr userDrawn="1"/>
        </p:nvSpPr>
        <p:spPr>
          <a:xfrm>
            <a:off x="7103787" y="3223527"/>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8DFE10E2-8D3B-4767-B6E0-27F1C0B4C047}"/>
              </a:ext>
            </a:extLst>
          </p:cNvPr>
          <p:cNvSpPr/>
          <p:nvPr userDrawn="1"/>
        </p:nvSpPr>
        <p:spPr>
          <a:xfrm>
            <a:off x="9413599" y="3223291"/>
            <a:ext cx="2200275" cy="447675"/>
          </a:xfrm>
          <a:prstGeom prst="rect">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5" name="Straight Connector 14">
            <a:extLst>
              <a:ext uri="{FF2B5EF4-FFF2-40B4-BE49-F238E27FC236}">
                <a16:creationId xmlns:a16="http://schemas.microsoft.com/office/drawing/2014/main" id="{266C6169-6835-4943-80F4-23BCECDD3F07}"/>
              </a:ext>
            </a:extLst>
          </p:cNvPr>
          <p:cNvCxnSpPr>
            <a:cxnSpLocks/>
          </p:cNvCxnSpPr>
          <p:nvPr userDrawn="1"/>
        </p:nvCxnSpPr>
        <p:spPr>
          <a:xfrm flipH="1" flipV="1">
            <a:off x="1332717" y="2472427"/>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E6F3C4-95C1-49A1-8C1A-8B07DC3E6F2A}"/>
              </a:ext>
            </a:extLst>
          </p:cNvPr>
          <p:cNvCxnSpPr>
            <a:cxnSpLocks/>
          </p:cNvCxnSpPr>
          <p:nvPr userDrawn="1"/>
        </p:nvCxnSpPr>
        <p:spPr>
          <a:xfrm flipH="1" flipV="1">
            <a:off x="3577156" y="3681599"/>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7E8C7092-4FAF-491B-95F5-3A72870FA8DD}"/>
              </a:ext>
            </a:extLst>
          </p:cNvPr>
          <p:cNvCxnSpPr>
            <a:cxnSpLocks/>
          </p:cNvCxnSpPr>
          <p:nvPr userDrawn="1"/>
        </p:nvCxnSpPr>
        <p:spPr>
          <a:xfrm flipH="1" flipV="1">
            <a:off x="5889349" y="2390135"/>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3C78854-7097-4280-ABBA-C6320921F609}"/>
              </a:ext>
            </a:extLst>
          </p:cNvPr>
          <p:cNvCxnSpPr>
            <a:cxnSpLocks/>
          </p:cNvCxnSpPr>
          <p:nvPr userDrawn="1"/>
        </p:nvCxnSpPr>
        <p:spPr>
          <a:xfrm flipH="1" flipV="1">
            <a:off x="8177729" y="3681598"/>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A0C4280E-0FDC-4BFA-9394-244BF06A903F}"/>
              </a:ext>
            </a:extLst>
          </p:cNvPr>
          <p:cNvCxnSpPr>
            <a:cxnSpLocks/>
          </p:cNvCxnSpPr>
          <p:nvPr userDrawn="1"/>
        </p:nvCxnSpPr>
        <p:spPr>
          <a:xfrm flipH="1" flipV="1">
            <a:off x="10404200" y="2390134"/>
            <a:ext cx="4763" cy="747027"/>
          </a:xfrm>
          <a:prstGeom prst="line">
            <a:avLst/>
          </a:prstGeom>
          <a:ln w="5080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11C78B-F852-454F-903B-A9ACC1E0058D}"/>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Date Placeholder 3">
            <a:extLst>
              <a:ext uri="{FF2B5EF4-FFF2-40B4-BE49-F238E27FC236}">
                <a16:creationId xmlns:a16="http://schemas.microsoft.com/office/drawing/2014/main" id="{69562053-D36A-6A4C-81AC-15D58F021C96}"/>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8" name="Picture 27" descr="A close up of a sign&#10;&#10;Description automatically generated">
            <a:extLst>
              <a:ext uri="{FF2B5EF4-FFF2-40B4-BE49-F238E27FC236}">
                <a16:creationId xmlns:a16="http://schemas.microsoft.com/office/drawing/2014/main" id="{F37422CB-060A-BE49-AEEC-D38C146ED08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3" name="Picture 2" descr="Logo, company name&#10;&#10;Description automatically generated">
            <a:extLst>
              <a:ext uri="{FF2B5EF4-FFF2-40B4-BE49-F238E27FC236}">
                <a16:creationId xmlns:a16="http://schemas.microsoft.com/office/drawing/2014/main" id="{67211782-D95D-4EAA-8801-2284CAACAE5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056521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9_Title and Content">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5F1119D-21B3-4E72-8273-39944FAB4016}"/>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ooter Placeholder 4">
            <a:extLst>
              <a:ext uri="{FF2B5EF4-FFF2-40B4-BE49-F238E27FC236}">
                <a16:creationId xmlns:a16="http://schemas.microsoft.com/office/drawing/2014/main" id="{52249239-F68B-4147-B1D1-C5BAEF52ACB1}"/>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23" name="Slide Number Placeholder 5">
            <a:extLst>
              <a:ext uri="{FF2B5EF4-FFF2-40B4-BE49-F238E27FC236}">
                <a16:creationId xmlns:a16="http://schemas.microsoft.com/office/drawing/2014/main" id="{B4F8CBC6-0EA4-454E-9AE7-330D0B07DBA8}"/>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168857" y="164595"/>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10" name="Rectangle 9">
            <a:extLst>
              <a:ext uri="{FF2B5EF4-FFF2-40B4-BE49-F238E27FC236}">
                <a16:creationId xmlns:a16="http://schemas.microsoft.com/office/drawing/2014/main" id="{52A689B4-7CB5-4150-A72A-0CECA6C94C1B}"/>
              </a:ext>
            </a:extLst>
          </p:cNvPr>
          <p:cNvSpPr/>
          <p:nvPr userDrawn="1"/>
        </p:nvSpPr>
        <p:spPr>
          <a:xfrm>
            <a:off x="2381529" y="1242035"/>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6C30B6CA-CF8E-4672-850C-BD70C9603821}"/>
              </a:ext>
            </a:extLst>
          </p:cNvPr>
          <p:cNvSpPr/>
          <p:nvPr userDrawn="1"/>
        </p:nvSpPr>
        <p:spPr>
          <a:xfrm>
            <a:off x="2381528" y="3731447"/>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97DFA0AC-AA6C-48D9-975D-40B547596326}"/>
              </a:ext>
            </a:extLst>
          </p:cNvPr>
          <p:cNvSpPr/>
          <p:nvPr userDrawn="1"/>
        </p:nvSpPr>
        <p:spPr>
          <a:xfrm>
            <a:off x="7223399" y="1226548"/>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2CE3B6A9-6BD0-49EC-BAE1-4EA85B6203D7}"/>
              </a:ext>
            </a:extLst>
          </p:cNvPr>
          <p:cNvSpPr/>
          <p:nvPr userDrawn="1"/>
        </p:nvSpPr>
        <p:spPr>
          <a:xfrm>
            <a:off x="7255633" y="3728614"/>
            <a:ext cx="4557159" cy="1967024"/>
          </a:xfrm>
          <a:prstGeom prst="rect">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12">
            <a:extLst>
              <a:ext uri="{FF2B5EF4-FFF2-40B4-BE49-F238E27FC236}">
                <a16:creationId xmlns:a16="http://schemas.microsoft.com/office/drawing/2014/main" id="{D7ACE795-39A5-44AF-BE69-ACAD8F831018}"/>
              </a:ext>
            </a:extLst>
          </p:cNvPr>
          <p:cNvSpPr>
            <a:spLocks noGrp="1"/>
          </p:cNvSpPr>
          <p:nvPr>
            <p:ph type="body" sz="quarter" idx="14"/>
          </p:nvPr>
        </p:nvSpPr>
        <p:spPr>
          <a:xfrm>
            <a:off x="2428686" y="1289300"/>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5" name="Text Placeholder 12">
            <a:extLst>
              <a:ext uri="{FF2B5EF4-FFF2-40B4-BE49-F238E27FC236}">
                <a16:creationId xmlns:a16="http://schemas.microsoft.com/office/drawing/2014/main" id="{D70694BD-2766-4F24-B88E-F6B550AE666B}"/>
              </a:ext>
            </a:extLst>
          </p:cNvPr>
          <p:cNvSpPr>
            <a:spLocks noGrp="1"/>
          </p:cNvSpPr>
          <p:nvPr>
            <p:ph type="body" sz="quarter" idx="15"/>
          </p:nvPr>
        </p:nvSpPr>
        <p:spPr>
          <a:xfrm>
            <a:off x="2428685"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6" name="Text Placeholder 12">
            <a:extLst>
              <a:ext uri="{FF2B5EF4-FFF2-40B4-BE49-F238E27FC236}">
                <a16:creationId xmlns:a16="http://schemas.microsoft.com/office/drawing/2014/main" id="{1246A60D-83B3-4754-B14D-1E822DFD43F5}"/>
              </a:ext>
            </a:extLst>
          </p:cNvPr>
          <p:cNvSpPr>
            <a:spLocks noGrp="1"/>
          </p:cNvSpPr>
          <p:nvPr>
            <p:ph type="body" sz="quarter" idx="16"/>
          </p:nvPr>
        </p:nvSpPr>
        <p:spPr>
          <a:xfrm>
            <a:off x="7270557" y="1270715"/>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7" name="Text Placeholder 12">
            <a:extLst>
              <a:ext uri="{FF2B5EF4-FFF2-40B4-BE49-F238E27FC236}">
                <a16:creationId xmlns:a16="http://schemas.microsoft.com/office/drawing/2014/main" id="{9C65ADA2-B7F5-41AA-B308-B1E34FA3F68B}"/>
              </a:ext>
            </a:extLst>
          </p:cNvPr>
          <p:cNvSpPr>
            <a:spLocks noGrp="1"/>
          </p:cNvSpPr>
          <p:nvPr>
            <p:ph type="body" sz="quarter" idx="17"/>
          </p:nvPr>
        </p:nvSpPr>
        <p:spPr>
          <a:xfrm>
            <a:off x="7349950" y="3791366"/>
            <a:ext cx="4462841" cy="1847185"/>
          </a:xfrm>
          <a:prstGeom prst="rect">
            <a:avLst/>
          </a:prstGeom>
        </p:spPr>
        <p:txBody>
          <a:bodyPr/>
          <a:lstStyle>
            <a:lvl1pPr>
              <a:buClr>
                <a:schemeClr val="accent2"/>
              </a:buClr>
              <a:defRPr sz="2400">
                <a:solidFill>
                  <a:schemeClr val="accent1"/>
                </a:solidFill>
              </a:defRPr>
            </a:lvl1pPr>
            <a:lvl2pPr>
              <a:buClr>
                <a:schemeClr val="accent2"/>
              </a:buClr>
              <a:defRPr sz="2000">
                <a:solidFill>
                  <a:schemeClr val="accent1"/>
                </a:solidFill>
              </a:defRPr>
            </a:lvl2pPr>
            <a:lvl3pPr>
              <a:defRPr sz="1800">
                <a:solidFill>
                  <a:schemeClr val="tx2"/>
                </a:solidFill>
              </a:defRPr>
            </a:lvl3pPr>
            <a:lvl4pPr>
              <a:defRPr sz="1600">
                <a:solidFill>
                  <a:schemeClr val="tx2"/>
                </a:solidFill>
              </a:defRPr>
            </a:lvl4pPr>
            <a:lvl5pPr>
              <a:defRPr>
                <a:solidFill>
                  <a:schemeClr val="tx2"/>
                </a:solidFill>
              </a:defRPr>
            </a:lvl5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35B85CF5-636A-E440-B11A-092206235E22}"/>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Date Placeholder 3">
            <a:extLst>
              <a:ext uri="{FF2B5EF4-FFF2-40B4-BE49-F238E27FC236}">
                <a16:creationId xmlns:a16="http://schemas.microsoft.com/office/drawing/2014/main" id="{C737E72E-CFE8-C948-A232-7E5E0DBB5B78}"/>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26" name="Picture 25" descr="A close up of a sign&#10;&#10;Description automatically generated">
            <a:extLst>
              <a:ext uri="{FF2B5EF4-FFF2-40B4-BE49-F238E27FC236}">
                <a16:creationId xmlns:a16="http://schemas.microsoft.com/office/drawing/2014/main" id="{9516DD73-EFAF-4D47-841B-1104248EF1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3" name="Picture 2" descr="Logo, company name&#10;&#10;Description automatically generated">
            <a:extLst>
              <a:ext uri="{FF2B5EF4-FFF2-40B4-BE49-F238E27FC236}">
                <a16:creationId xmlns:a16="http://schemas.microsoft.com/office/drawing/2014/main" id="{4569829E-0179-48F9-9819-FA8179268C1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34793379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FD6C3F4-C7B6-4613-8B33-6EBE2B01DE7B}"/>
              </a:ext>
            </a:extLst>
          </p:cNvPr>
          <p:cNvSpPr/>
          <p:nvPr userDrawn="1"/>
        </p:nvSpPr>
        <p:spPr>
          <a:xfrm>
            <a:off x="0" y="164595"/>
            <a:ext cx="12192000" cy="751350"/>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2212291" y="252702"/>
            <a:ext cx="9131780" cy="575136"/>
          </a:xfrm>
        </p:spPr>
        <p:txBody>
          <a:bodyPr>
            <a:normAutofit/>
          </a:bodyPr>
          <a:lstStyle>
            <a:lvl1pPr algn="l">
              <a:defRPr sz="3600">
                <a:solidFill>
                  <a:schemeClr val="accent1"/>
                </a:solidFill>
                <a:latin typeface="+mn-lt"/>
              </a:defRPr>
            </a:lvl1pPr>
          </a:lstStyle>
          <a:p>
            <a:r>
              <a:rPr lang="en-US"/>
              <a:t>Click to add header</a:t>
            </a:r>
          </a:p>
        </p:txBody>
      </p:sp>
      <p:sp>
        <p:nvSpPr>
          <p:cNvPr id="5" name="Footer Placeholder 4">
            <a:extLst>
              <a:ext uri="{FF2B5EF4-FFF2-40B4-BE49-F238E27FC236}">
                <a16:creationId xmlns:a16="http://schemas.microsoft.com/office/drawing/2014/main" id="{FBC81A91-6111-4E0C-A869-7E9C2FDE4082}"/>
              </a:ext>
            </a:extLst>
          </p:cNvPr>
          <p:cNvSpPr>
            <a:spLocks noGrp="1"/>
          </p:cNvSpPr>
          <p:nvPr>
            <p:ph type="ftr" sz="quarter" idx="11"/>
          </p:nvPr>
        </p:nvSpPr>
        <p:spPr>
          <a:xfrm>
            <a:off x="4038600" y="6492874"/>
            <a:ext cx="4114800" cy="365125"/>
          </a:xfrm>
        </p:spPr>
        <p:txBody>
          <a:bodyPr/>
          <a:lstStyle>
            <a:lvl1pPr>
              <a:defRPr>
                <a:solidFill>
                  <a:schemeClr val="accent1"/>
                </a:solidFill>
              </a:defRPr>
            </a:lvl1pPr>
          </a:lstStyle>
          <a:p>
            <a:endParaRPr lang="en-US" dirty="0"/>
          </a:p>
        </p:txBody>
      </p:sp>
      <p:sp>
        <p:nvSpPr>
          <p:cNvPr id="6" name="Slide Number Placeholder 5">
            <a:extLst>
              <a:ext uri="{FF2B5EF4-FFF2-40B4-BE49-F238E27FC236}">
                <a16:creationId xmlns:a16="http://schemas.microsoft.com/office/drawing/2014/main" id="{FE95038C-8DCC-497B-8852-2117A77C83F9}"/>
              </a:ext>
            </a:extLst>
          </p:cNvPr>
          <p:cNvSpPr>
            <a:spLocks noGrp="1"/>
          </p:cNvSpPr>
          <p:nvPr>
            <p:ph type="sldNum" sz="quarter" idx="12"/>
          </p:nvPr>
        </p:nvSpPr>
        <p:spPr>
          <a:xfrm>
            <a:off x="9210675" y="6492873"/>
            <a:ext cx="2743200" cy="365125"/>
          </a:xfrm>
        </p:spPr>
        <p:txBody>
          <a:bodyPr/>
          <a:lstStyle>
            <a:lvl1pPr>
              <a:defRPr>
                <a:solidFill>
                  <a:schemeClr val="accent1"/>
                </a:solidFill>
              </a:defRPr>
            </a:lvl1pPr>
          </a:lstStyle>
          <a:p>
            <a:fld id="{69C126A4-BD19-47E2-8A0E-0DE1B9D8C925}" type="slidenum">
              <a:rPr lang="en-US" smtClean="0"/>
              <a:pPr/>
              <a:t>‹#›</a:t>
            </a:fld>
            <a:endParaRPr lang="en-US" dirty="0"/>
          </a:p>
        </p:txBody>
      </p:sp>
      <p:sp>
        <p:nvSpPr>
          <p:cNvPr id="9" name="Rectangle 8">
            <a:extLst>
              <a:ext uri="{FF2B5EF4-FFF2-40B4-BE49-F238E27FC236}">
                <a16:creationId xmlns:a16="http://schemas.microsoft.com/office/drawing/2014/main" id="{17B5F3F2-7038-D944-BB35-28CDB39B19DA}"/>
              </a:ext>
            </a:extLst>
          </p:cNvPr>
          <p:cNvSpPr/>
          <p:nvPr userDrawn="1"/>
        </p:nvSpPr>
        <p:spPr>
          <a:xfrm>
            <a:off x="241110" y="0"/>
            <a:ext cx="1583141" cy="6858000"/>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Date Placeholder 3">
            <a:extLst>
              <a:ext uri="{FF2B5EF4-FFF2-40B4-BE49-F238E27FC236}">
                <a16:creationId xmlns:a16="http://schemas.microsoft.com/office/drawing/2014/main" id="{4045A7A8-30EA-074D-AD8F-CCCE7D8D8883}"/>
              </a:ext>
            </a:extLst>
          </p:cNvPr>
          <p:cNvSpPr>
            <a:spLocks noGrp="1"/>
          </p:cNvSpPr>
          <p:nvPr>
            <p:ph type="dt" sz="half" idx="10"/>
          </p:nvPr>
        </p:nvSpPr>
        <p:spPr>
          <a:xfrm>
            <a:off x="243484" y="6492875"/>
            <a:ext cx="1585316" cy="365125"/>
          </a:xfrm>
        </p:spPr>
        <p:txBody>
          <a:bodyPr/>
          <a:lstStyle>
            <a:lvl1pPr algn="ctr">
              <a:defRPr/>
            </a:lvl1pPr>
          </a:lstStyle>
          <a:p>
            <a:fld id="{FA6A0AD2-53AF-4D84-8AC9-3DBC493F2F75}" type="datetimeFigureOut">
              <a:rPr lang="en-US" smtClean="0"/>
              <a:pPr/>
              <a:t>3/23/2022</a:t>
            </a:fld>
            <a:endParaRPr lang="en-US" dirty="0"/>
          </a:p>
        </p:txBody>
      </p:sp>
      <p:pic>
        <p:nvPicPr>
          <p:cNvPr id="11" name="Picture 10" descr="A close up of a sign&#10;&#10;Description automatically generated">
            <a:extLst>
              <a:ext uri="{FF2B5EF4-FFF2-40B4-BE49-F238E27FC236}">
                <a16:creationId xmlns:a16="http://schemas.microsoft.com/office/drawing/2014/main" id="{210F5092-1527-9B43-8ADE-35FC8A3822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877" y="208290"/>
            <a:ext cx="997300" cy="398921"/>
          </a:xfrm>
          <a:prstGeom prst="rect">
            <a:avLst/>
          </a:prstGeom>
        </p:spPr>
      </p:pic>
      <p:pic>
        <p:nvPicPr>
          <p:cNvPr id="4" name="Picture 3" descr="Logo, company name&#10;&#10;Description automatically generated">
            <a:extLst>
              <a:ext uri="{FF2B5EF4-FFF2-40B4-BE49-F238E27FC236}">
                <a16:creationId xmlns:a16="http://schemas.microsoft.com/office/drawing/2014/main" id="{7B514CDE-B44E-48D2-AF6E-F7F26F3FAC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03525" y="5840228"/>
            <a:ext cx="865233" cy="524798"/>
          </a:xfrm>
          <a:prstGeom prst="rect">
            <a:avLst/>
          </a:prstGeom>
        </p:spPr>
      </p:pic>
    </p:spTree>
    <p:extLst>
      <p:ext uri="{BB962C8B-B14F-4D97-AF65-F5344CB8AC3E}">
        <p14:creationId xmlns:p14="http://schemas.microsoft.com/office/powerpoint/2010/main" val="26130724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9" name="Picture 8" descr="A group of people standing in front of a crowd posing for the camera&#10;&#10;Description automatically generated">
            <a:extLst>
              <a:ext uri="{FF2B5EF4-FFF2-40B4-BE49-F238E27FC236}">
                <a16:creationId xmlns:a16="http://schemas.microsoft.com/office/drawing/2014/main" id="{8132F563-1018-4BBA-84AD-7D43004AA59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3" t="11325" r="3165" b="2551"/>
          <a:stretch/>
        </p:blipFill>
        <p:spPr>
          <a:xfrm>
            <a:off x="426" y="0"/>
            <a:ext cx="12191574"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2CABA84F-8E24-41C1-A179-B6E997659DE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8543116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ullet Li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222B297E-D315-480E-80F0-FD977F37182A}" type="datetime1">
              <a:rPr lang="en-US" smtClean="0"/>
              <a:t>3/23/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0088AB57-2DBE-44A3-AE96-942C49E954BF}" type="slidenum">
              <a:rPr lang="en-US" smtClean="0"/>
              <a:t>‹#›</a:t>
            </a:fld>
            <a:endParaRPr lang="en-US" dirty="0"/>
          </a:p>
        </p:txBody>
      </p:sp>
      <p:sp>
        <p:nvSpPr>
          <p:cNvPr id="7" name="Content Placeholder 2"/>
          <p:cNvSpPr>
            <a:spLocks noGrp="1"/>
          </p:cNvSpPr>
          <p:nvPr>
            <p:ph idx="13"/>
          </p:nvPr>
        </p:nvSpPr>
        <p:spPr>
          <a:xfrm>
            <a:off x="838199" y="1825625"/>
            <a:ext cx="10515599" cy="4302459"/>
          </a:xfrm>
        </p:spPr>
        <p:txBody>
          <a:bodyPr/>
          <a:lstStyle>
            <a:lvl1pPr>
              <a:defRPr b="1">
                <a:latin typeface="Open Sans Semibold" panose="020B0606030504020204"/>
              </a:defRPr>
            </a:lvl1pPr>
            <a:lvl2pPr marL="685800" indent="-228600">
              <a:buClr>
                <a:srgbClr val="DA3E26"/>
              </a:buClr>
              <a:buFont typeface="Wingdings" panose="05000000000000000000" pitchFamily="2" charset="2"/>
              <a:buChar char="§"/>
              <a:defRPr>
                <a:latin typeface="Open Sans (Headings)"/>
              </a:defRPr>
            </a:lvl2pPr>
            <a:lvl3pPr>
              <a:buClr>
                <a:srgbClr val="4472C4"/>
              </a:buClr>
              <a:defRPr>
                <a:latin typeface="Open Sans Light" panose="020B0306030504020204"/>
              </a:defRPr>
            </a:lvl3pPr>
            <a:lvl4pPr marL="1600200" indent="-228600">
              <a:buClr>
                <a:srgbClr val="4472C4"/>
              </a:buClr>
              <a:buFontTx/>
              <a:buChar char="◦"/>
              <a:defRPr>
                <a:latin typeface="Open Sans Light" panose="020B0306030504020204"/>
              </a:defRPr>
            </a:lvl4pPr>
            <a:lvl5pPr>
              <a:buClr>
                <a:srgbClr val="DA3E26"/>
              </a:buClr>
              <a:defRPr>
                <a:latin typeface="Open Sans Light" panose="020B0306030504020204"/>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21071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10" name="Picture 9" descr="A group of people sitting at a computer&#10;&#10;Description automatically generated">
            <a:extLst>
              <a:ext uri="{FF2B5EF4-FFF2-40B4-BE49-F238E27FC236}">
                <a16:creationId xmlns:a16="http://schemas.microsoft.com/office/drawing/2014/main" id="{70A31480-C32A-4BB8-B0DF-C99B27B668F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4722" r="-22" b="20417"/>
          <a:stretch/>
        </p:blipFill>
        <p:spPr>
          <a:xfrm>
            <a:off x="0" y="1"/>
            <a:ext cx="12217428" cy="6858000"/>
          </a:xfrm>
          <a:prstGeom prst="rect">
            <a:avLst/>
          </a:prstGeom>
        </p:spPr>
      </p:pic>
      <p:sp>
        <p:nvSpPr>
          <p:cNvPr id="4" name="Rectangle 3">
            <a:extLst>
              <a:ext uri="{FF2B5EF4-FFF2-40B4-BE49-F238E27FC236}">
                <a16:creationId xmlns:a16="http://schemas.microsoft.com/office/drawing/2014/main" id="{0228147C-9AFB-495B-A485-811F7D37112A}"/>
              </a:ext>
            </a:extLst>
          </p:cNvPr>
          <p:cNvSpPr/>
          <p:nvPr userDrawn="1"/>
        </p:nvSpPr>
        <p:spPr>
          <a:xfrm>
            <a:off x="0" y="0"/>
            <a:ext cx="12217429"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1573619"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1312" y="233478"/>
            <a:ext cx="994008" cy="397604"/>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2030819" y="3807725"/>
            <a:ext cx="5507665" cy="2457864"/>
          </a:xfrm>
          <a:noFill/>
          <a:ln>
            <a:noFill/>
          </a:ln>
        </p:spPr>
        <p:txBody>
          <a:bodyPr anchor="b">
            <a:noAutofit/>
          </a:bodyPr>
          <a:lstStyle>
            <a:lvl1pPr algn="l">
              <a:defRPr sz="5400">
                <a:solidFill>
                  <a:schemeClr val="accent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528B33F6-A58B-4CDC-8488-A0B7054DA82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03509" y="6173310"/>
            <a:ext cx="865233" cy="524798"/>
          </a:xfrm>
          <a:prstGeom prst="rect">
            <a:avLst/>
          </a:prstGeom>
        </p:spPr>
      </p:pic>
    </p:spTree>
    <p:extLst>
      <p:ext uri="{BB962C8B-B14F-4D97-AF65-F5344CB8AC3E}">
        <p14:creationId xmlns:p14="http://schemas.microsoft.com/office/powerpoint/2010/main" val="8662714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pic>
        <p:nvPicPr>
          <p:cNvPr id="6" name="Picture 5" descr="A group of people in a room&#10;&#10;Description automatically generated">
            <a:extLst>
              <a:ext uri="{FF2B5EF4-FFF2-40B4-BE49-F238E27FC236}">
                <a16:creationId xmlns:a16="http://schemas.microsoft.com/office/drawing/2014/main" id="{1B9DEDDA-7B58-4520-A950-B49ECEF3EC1E}"/>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683" t="23292" r="9940" b="12674"/>
          <a:stretch/>
        </p:blipFill>
        <p:spPr>
          <a:xfrm>
            <a:off x="1" y="1"/>
            <a:ext cx="12191999" cy="6857999"/>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9FB7DA9D-A6E0-4F2D-B849-48659B12B7B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6297266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1_Title Slide">
    <p:spTree>
      <p:nvGrpSpPr>
        <p:cNvPr id="1" name=""/>
        <p:cNvGrpSpPr/>
        <p:nvPr/>
      </p:nvGrpSpPr>
      <p:grpSpPr>
        <a:xfrm>
          <a:off x="0" y="0"/>
          <a:ext cx="0" cy="0"/>
          <a:chOff x="0" y="0"/>
          <a:chExt cx="0" cy="0"/>
        </a:xfrm>
      </p:grpSpPr>
      <p:pic>
        <p:nvPicPr>
          <p:cNvPr id="9" name="Picture 8" descr="A picture containing person, child, indoor, wall&#10;&#10;Description automatically generated">
            <a:extLst>
              <a:ext uri="{FF2B5EF4-FFF2-40B4-BE49-F238E27FC236}">
                <a16:creationId xmlns:a16="http://schemas.microsoft.com/office/drawing/2014/main" id="{454B729E-4078-4961-AA28-F71FC702E41B}"/>
              </a:ext>
            </a:extLst>
          </p:cNvPr>
          <p:cNvPicPr>
            <a:picLocks noChangeAspect="1"/>
          </p:cNvPicPr>
          <p:nvPr userDrawn="1"/>
        </p:nvPicPr>
        <p:blipFill rotWithShape="1">
          <a:blip r:embed="rId2">
            <a:alphaModFix amt="70000"/>
            <a:extLst>
              <a:ext uri="{28A0092B-C50C-407E-A947-70E740481C1C}">
                <a14:useLocalDpi xmlns:a14="http://schemas.microsoft.com/office/drawing/2010/main" val="0"/>
              </a:ext>
            </a:extLst>
          </a:blip>
          <a:srcRect l="42" t="7435" r="-42" b="17542"/>
          <a:stretch/>
        </p:blipFill>
        <p:spPr>
          <a:xfrm>
            <a:off x="0" y="1"/>
            <a:ext cx="12192000"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73148" y="2169994"/>
            <a:ext cx="2870789" cy="234344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954323D5-DC36-4533-A457-DCC5ED0C961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1052002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1" name="Picture 10" descr="A group of people sitting at a table&#10;&#10;Description automatically generated">
            <a:extLst>
              <a:ext uri="{FF2B5EF4-FFF2-40B4-BE49-F238E27FC236}">
                <a16:creationId xmlns:a16="http://schemas.microsoft.com/office/drawing/2014/main" id="{33D73650-076F-4A3A-8B1D-4BC037C27D80}"/>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t="2711" r="1406" b="14039"/>
          <a:stretch/>
        </p:blipFill>
        <p:spPr>
          <a:xfrm>
            <a:off x="1" y="0"/>
            <a:ext cx="12191999" cy="6858000"/>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5"/>
            <a:ext cx="2870789" cy="2351382"/>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44B20456-6692-4960-8821-D490DE17564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316672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10" name="Picture 9" descr="A picture containing book, indoor, laptop, shelf&#10;&#10;Description automatically generated">
            <a:extLst>
              <a:ext uri="{FF2B5EF4-FFF2-40B4-BE49-F238E27FC236}">
                <a16:creationId xmlns:a16="http://schemas.microsoft.com/office/drawing/2014/main" id="{E38AE18D-74B8-4D84-8A53-A0113DBFDB85}"/>
              </a:ext>
            </a:extLst>
          </p:cNvPr>
          <p:cNvPicPr>
            <a:picLocks noChangeAspect="1"/>
          </p:cNvPicPr>
          <p:nvPr userDrawn="1"/>
        </p:nvPicPr>
        <p:blipFill rotWithShape="1">
          <a:blip r:embed="rId2">
            <a:alphaModFix amt="65000"/>
            <a:extLst>
              <a:ext uri="{28A0092B-C50C-407E-A947-70E740481C1C}">
                <a14:useLocalDpi xmlns:a14="http://schemas.microsoft.com/office/drawing/2010/main" val="0"/>
              </a:ext>
            </a:extLst>
          </a:blip>
          <a:srcRect l="-104" t="6395" r="104" b="3783"/>
          <a:stretch/>
        </p:blipFill>
        <p:spPr>
          <a:xfrm>
            <a:off x="0" y="1"/>
            <a:ext cx="12192000" cy="6898432"/>
          </a:xfrm>
          <a:prstGeom prst="rect">
            <a:avLst/>
          </a:prstGeom>
        </p:spPr>
      </p:pic>
      <p:sp>
        <p:nvSpPr>
          <p:cNvPr id="7" name="Rectangle 6">
            <a:extLst>
              <a:ext uri="{FF2B5EF4-FFF2-40B4-BE49-F238E27FC236}">
                <a16:creationId xmlns:a16="http://schemas.microsoft.com/office/drawing/2014/main" id="{30033EEE-3823-4FA0-9C86-2F8D1358CA62}"/>
              </a:ext>
            </a:extLst>
          </p:cNvPr>
          <p:cNvSpPr/>
          <p:nvPr userDrawn="1"/>
        </p:nvSpPr>
        <p:spPr>
          <a:xfrm>
            <a:off x="361507" y="0"/>
            <a:ext cx="3094074" cy="685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478F5A8A-81B1-4D06-B15C-B9423E8CC18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3974" y="337010"/>
            <a:ext cx="1649139" cy="659657"/>
          </a:xfrm>
          <a:prstGeom prst="rect">
            <a:avLst/>
          </a:prstGeom>
        </p:spPr>
      </p:pic>
      <p:sp>
        <p:nvSpPr>
          <p:cNvPr id="2" name="Title 1">
            <a:extLst>
              <a:ext uri="{FF2B5EF4-FFF2-40B4-BE49-F238E27FC236}">
                <a16:creationId xmlns:a16="http://schemas.microsoft.com/office/drawing/2014/main" id="{E35F915A-2D65-4403-B6A1-FAFF6BE60787}"/>
              </a:ext>
            </a:extLst>
          </p:cNvPr>
          <p:cNvSpPr>
            <a:spLocks noGrp="1"/>
          </p:cNvSpPr>
          <p:nvPr>
            <p:ph type="ctrTitle" hasCustomPrompt="1"/>
          </p:nvPr>
        </p:nvSpPr>
        <p:spPr>
          <a:xfrm>
            <a:off x="457202" y="2179674"/>
            <a:ext cx="2870789" cy="2392325"/>
          </a:xfrm>
          <a:noFill/>
          <a:ln>
            <a:noFill/>
          </a:ln>
        </p:spPr>
        <p:txBody>
          <a:bodyPr anchor="b">
            <a:noAutofit/>
          </a:bodyPr>
          <a:lstStyle>
            <a:lvl1pPr algn="l">
              <a:defRPr sz="4000">
                <a:solidFill>
                  <a:schemeClr val="bg1"/>
                </a:solidFill>
                <a:latin typeface="+mn-lt"/>
              </a:defRPr>
            </a:lvl1pPr>
          </a:lstStyle>
          <a:p>
            <a:r>
              <a:rPr lang="en-US"/>
              <a:t>Click to edit Master title or section break</a:t>
            </a:r>
          </a:p>
        </p:txBody>
      </p:sp>
      <p:pic>
        <p:nvPicPr>
          <p:cNvPr id="3" name="Picture 2" descr="Logo, company name&#10;&#10;Description automatically generated">
            <a:extLst>
              <a:ext uri="{FF2B5EF4-FFF2-40B4-BE49-F238E27FC236}">
                <a16:creationId xmlns:a16="http://schemas.microsoft.com/office/drawing/2014/main" id="{3C7C0638-979B-4B0B-B96F-6B859AF7A69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324294" y="6040073"/>
            <a:ext cx="1060704" cy="643359"/>
          </a:xfrm>
          <a:prstGeom prst="rect">
            <a:avLst/>
          </a:prstGeom>
        </p:spPr>
      </p:pic>
    </p:spTree>
    <p:extLst>
      <p:ext uri="{BB962C8B-B14F-4D97-AF65-F5344CB8AC3E}">
        <p14:creationId xmlns:p14="http://schemas.microsoft.com/office/powerpoint/2010/main" val="1069470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4B7C4E4-2D06-490E-9697-F8F066CE1C1F}"/>
              </a:ext>
            </a:extLst>
          </p:cNvPr>
          <p:cNvSpPr/>
          <p:nvPr userDrawn="1"/>
        </p:nvSpPr>
        <p:spPr>
          <a:xfrm>
            <a:off x="0" y="6017606"/>
            <a:ext cx="12192000" cy="527467"/>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close up of a sign&#10;&#10;Description automatically generated">
            <a:extLst>
              <a:ext uri="{FF2B5EF4-FFF2-40B4-BE49-F238E27FC236}">
                <a16:creationId xmlns:a16="http://schemas.microsoft.com/office/drawing/2014/main" id="{F140E875-7581-43F3-85AE-4FC91D736F3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597350" y="6062943"/>
            <a:ext cx="997300" cy="398921"/>
          </a:xfrm>
          <a:prstGeom prst="rect">
            <a:avLst/>
          </a:prstGeom>
        </p:spPr>
      </p:pic>
      <p:sp>
        <p:nvSpPr>
          <p:cNvPr id="2" name="Title 1">
            <a:extLst>
              <a:ext uri="{FF2B5EF4-FFF2-40B4-BE49-F238E27FC236}">
                <a16:creationId xmlns:a16="http://schemas.microsoft.com/office/drawing/2014/main" id="{399221D3-8348-4325-9C95-16793EEF14CB}"/>
              </a:ext>
            </a:extLst>
          </p:cNvPr>
          <p:cNvSpPr>
            <a:spLocks noGrp="1"/>
          </p:cNvSpPr>
          <p:nvPr>
            <p:ph type="title" hasCustomPrompt="1"/>
          </p:nvPr>
        </p:nvSpPr>
        <p:spPr>
          <a:xfrm>
            <a:off x="712380" y="153230"/>
            <a:ext cx="11121657" cy="751350"/>
          </a:xfrm>
        </p:spPr>
        <p:txBody>
          <a:bodyPr>
            <a:normAutofit/>
          </a:bodyPr>
          <a:lstStyle>
            <a:lvl1pPr algn="l">
              <a:defRPr sz="3600">
                <a:solidFill>
                  <a:schemeClr val="accent1"/>
                </a:solidFill>
                <a:latin typeface="+mn-lt"/>
              </a:defRPr>
            </a:lvl1pPr>
          </a:lstStyle>
          <a:p>
            <a:r>
              <a:rPr lang="en-US"/>
              <a:t>Click to add header</a:t>
            </a:r>
          </a:p>
        </p:txBody>
      </p:sp>
      <p:sp>
        <p:nvSpPr>
          <p:cNvPr id="3" name="Content Placeholder 2">
            <a:extLst>
              <a:ext uri="{FF2B5EF4-FFF2-40B4-BE49-F238E27FC236}">
                <a16:creationId xmlns:a16="http://schemas.microsoft.com/office/drawing/2014/main" id="{A5456EDC-1A10-41B1-8C8A-3A9DA51A432F}"/>
              </a:ext>
            </a:extLst>
          </p:cNvPr>
          <p:cNvSpPr>
            <a:spLocks noGrp="1"/>
          </p:cNvSpPr>
          <p:nvPr>
            <p:ph idx="1"/>
          </p:nvPr>
        </p:nvSpPr>
        <p:spPr>
          <a:xfrm>
            <a:off x="712380" y="1495651"/>
            <a:ext cx="10623762" cy="4351338"/>
          </a:xfrm>
          <a:prstGeom prst="rect">
            <a:avLst/>
          </a:prstGeom>
        </p:spPr>
        <p:txBody>
          <a:bodyPr/>
          <a:lstStyle>
            <a:lvl1pPr>
              <a:buClr>
                <a:schemeClr val="accent2"/>
              </a:buClr>
              <a:defRPr>
                <a:solidFill>
                  <a:schemeClr val="accent1"/>
                </a:solidFill>
              </a:defRPr>
            </a:lvl1pPr>
            <a:lvl2pPr>
              <a:buClr>
                <a:schemeClr val="accent2"/>
              </a:buClr>
              <a:defRPr>
                <a:solidFill>
                  <a:schemeClr val="accent1"/>
                </a:solidFill>
              </a:defRPr>
            </a:lvl2pPr>
            <a:lvl3pPr>
              <a:buClr>
                <a:schemeClr val="accent2"/>
              </a:buClr>
              <a:defRPr>
                <a:solidFill>
                  <a:schemeClr val="accent1"/>
                </a:solidFill>
              </a:defRPr>
            </a:lvl3pPr>
            <a:lvl4pPr>
              <a:buClr>
                <a:schemeClr val="accent2"/>
              </a:buClr>
              <a:defRPr>
                <a:solidFill>
                  <a:schemeClr val="accent1"/>
                </a:solidFill>
              </a:defRPr>
            </a:lvl4pPr>
            <a:lvl5pPr>
              <a:buClr>
                <a:schemeClr val="accent2"/>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3EF4DB6E-C9F9-D944-B663-9CB9DAF8722D}"/>
              </a:ext>
            </a:extLst>
          </p:cNvPr>
          <p:cNvSpPr/>
          <p:nvPr userDrawn="1"/>
        </p:nvSpPr>
        <p:spPr>
          <a:xfrm>
            <a:off x="0" y="6502622"/>
            <a:ext cx="12192000" cy="123465"/>
          </a:xfrm>
          <a:prstGeom prst="rect">
            <a:avLst/>
          </a:prstGeom>
          <a:solidFill>
            <a:srgbClr val="F160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A518B"/>
              </a:solidFill>
            </a:endParaRPr>
          </a:p>
        </p:txBody>
      </p:sp>
      <p:sp>
        <p:nvSpPr>
          <p:cNvPr id="11" name="Footer Placeholder 4">
            <a:extLst>
              <a:ext uri="{FF2B5EF4-FFF2-40B4-BE49-F238E27FC236}">
                <a16:creationId xmlns:a16="http://schemas.microsoft.com/office/drawing/2014/main" id="{68E7FD1F-DB59-1F43-A0E9-971CABD56E09}"/>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tx1">
                    <a:lumMod val="50000"/>
                    <a:lumOff val="50000"/>
                  </a:schemeClr>
                </a:solidFill>
              </a:defRPr>
            </a:lvl1pPr>
          </a:lstStyle>
          <a:p>
            <a:endParaRPr lang="en-US" dirty="0"/>
          </a:p>
        </p:txBody>
      </p:sp>
      <p:sp>
        <p:nvSpPr>
          <p:cNvPr id="12" name="Date Placeholder 3">
            <a:extLst>
              <a:ext uri="{FF2B5EF4-FFF2-40B4-BE49-F238E27FC236}">
                <a16:creationId xmlns:a16="http://schemas.microsoft.com/office/drawing/2014/main" id="{1650F9ED-1E1E-254C-8D51-ADB94CF4D0E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tx1">
                    <a:lumMod val="50000"/>
                    <a:lumOff val="50000"/>
                  </a:schemeClr>
                </a:solidFill>
              </a:defRPr>
            </a:lvl1pPr>
          </a:lstStyle>
          <a:p>
            <a:fld id="{FA6A0AD2-53AF-4D84-8AC9-3DBC493F2F75}" type="datetimeFigureOut">
              <a:rPr lang="en-US" smtClean="0"/>
              <a:pPr/>
              <a:t>3/23/2022</a:t>
            </a:fld>
            <a:endParaRPr lang="en-US" dirty="0"/>
          </a:p>
        </p:txBody>
      </p:sp>
      <p:sp>
        <p:nvSpPr>
          <p:cNvPr id="13" name="Slide Number Placeholder 5">
            <a:extLst>
              <a:ext uri="{FF2B5EF4-FFF2-40B4-BE49-F238E27FC236}">
                <a16:creationId xmlns:a16="http://schemas.microsoft.com/office/drawing/2014/main" id="{C4FED095-2A60-7649-AE12-495DA5A57147}"/>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tx1">
                    <a:lumMod val="50000"/>
                    <a:lumOff val="50000"/>
                  </a:schemeClr>
                </a:solidFill>
              </a:defRPr>
            </a:lvl1pPr>
          </a:lstStyle>
          <a:p>
            <a:fld id="{69C126A4-BD19-47E2-8A0E-0DE1B9D8C925}" type="slidenum">
              <a:rPr lang="en-US" smtClean="0"/>
              <a:pPr/>
              <a:t>‹#›</a:t>
            </a:fld>
            <a:endParaRPr lang="en-US" dirty="0"/>
          </a:p>
        </p:txBody>
      </p:sp>
      <p:pic>
        <p:nvPicPr>
          <p:cNvPr id="5" name="Picture 4" descr="Logo&#10;&#10;Description automatically generated">
            <a:extLst>
              <a:ext uri="{FF2B5EF4-FFF2-40B4-BE49-F238E27FC236}">
                <a16:creationId xmlns:a16="http://schemas.microsoft.com/office/drawing/2014/main" id="{AD25C652-3A12-4692-BB44-8656ED261CE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88168" y="151883"/>
            <a:ext cx="895947" cy="528803"/>
          </a:xfrm>
          <a:prstGeom prst="rect">
            <a:avLst/>
          </a:prstGeom>
        </p:spPr>
      </p:pic>
    </p:spTree>
    <p:extLst>
      <p:ext uri="{BB962C8B-B14F-4D97-AF65-F5344CB8AC3E}">
        <p14:creationId xmlns:p14="http://schemas.microsoft.com/office/powerpoint/2010/main" val="31015209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A8236F96-CFF5-43CD-9E03-D06E3B2A0E22}"/>
              </a:ext>
            </a:extLst>
          </p:cNvPr>
          <p:cNvSpPr>
            <a:spLocks noGrp="1"/>
          </p:cNvSpPr>
          <p:nvPr>
            <p:ph type="ftr" sz="quarter" idx="3"/>
          </p:nvPr>
        </p:nvSpPr>
        <p:spPr>
          <a:xfrm>
            <a:off x="4038600" y="6544338"/>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dirty="0"/>
          </a:p>
        </p:txBody>
      </p:sp>
      <p:sp>
        <p:nvSpPr>
          <p:cNvPr id="4" name="Date Placeholder 3">
            <a:extLst>
              <a:ext uri="{FF2B5EF4-FFF2-40B4-BE49-F238E27FC236}">
                <a16:creationId xmlns:a16="http://schemas.microsoft.com/office/drawing/2014/main" id="{CD3C28EB-BCA9-43F7-A9C9-9BC5A31B8541}"/>
              </a:ext>
            </a:extLst>
          </p:cNvPr>
          <p:cNvSpPr>
            <a:spLocks noGrp="1"/>
          </p:cNvSpPr>
          <p:nvPr>
            <p:ph type="dt" sz="half" idx="2"/>
          </p:nvPr>
        </p:nvSpPr>
        <p:spPr>
          <a:xfrm>
            <a:off x="238125" y="6537963"/>
            <a:ext cx="2743200" cy="365125"/>
          </a:xfrm>
          <a:prstGeom prst="rect">
            <a:avLst/>
          </a:prstGeom>
        </p:spPr>
        <p:txBody>
          <a:bodyPr vert="horz" lIns="91440" tIns="45720" rIns="91440" bIns="45720" rtlCol="0" anchor="ctr"/>
          <a:lstStyle>
            <a:lvl1pPr algn="l">
              <a:defRPr sz="1200">
                <a:solidFill>
                  <a:schemeClr val="bg1"/>
                </a:solidFill>
              </a:defRPr>
            </a:lvl1pPr>
          </a:lstStyle>
          <a:p>
            <a:fld id="{FA6A0AD2-53AF-4D84-8AC9-3DBC493F2F75}" type="datetimeFigureOut">
              <a:rPr lang="en-US" smtClean="0"/>
              <a:pPr/>
              <a:t>3/23/2022</a:t>
            </a:fld>
            <a:endParaRPr lang="en-US" dirty="0"/>
          </a:p>
        </p:txBody>
      </p:sp>
      <p:sp>
        <p:nvSpPr>
          <p:cNvPr id="6" name="Slide Number Placeholder 5">
            <a:extLst>
              <a:ext uri="{FF2B5EF4-FFF2-40B4-BE49-F238E27FC236}">
                <a16:creationId xmlns:a16="http://schemas.microsoft.com/office/drawing/2014/main" id="{9467911F-0FB9-4538-A2CE-203712435FFC}"/>
              </a:ext>
            </a:extLst>
          </p:cNvPr>
          <p:cNvSpPr>
            <a:spLocks noGrp="1"/>
          </p:cNvSpPr>
          <p:nvPr>
            <p:ph type="sldNum" sz="quarter" idx="4"/>
          </p:nvPr>
        </p:nvSpPr>
        <p:spPr>
          <a:xfrm>
            <a:off x="9210675" y="6529126"/>
            <a:ext cx="2743200" cy="365125"/>
          </a:xfrm>
          <a:prstGeom prst="rect">
            <a:avLst/>
          </a:prstGeom>
        </p:spPr>
        <p:txBody>
          <a:bodyPr vert="horz" lIns="91440" tIns="45720" rIns="91440" bIns="45720" rtlCol="0" anchor="ctr"/>
          <a:lstStyle>
            <a:lvl1pPr algn="r">
              <a:defRPr sz="1200">
                <a:solidFill>
                  <a:schemeClr val="bg1"/>
                </a:solidFill>
              </a:defRPr>
            </a:lvl1pPr>
          </a:lstStyle>
          <a:p>
            <a:fld id="{69C126A4-BD19-47E2-8A0E-0DE1B9D8C925}" type="slidenum">
              <a:rPr lang="en-US" smtClean="0"/>
              <a:pPr/>
              <a:t>‹#›</a:t>
            </a:fld>
            <a:endParaRPr lang="en-US" dirty="0"/>
          </a:p>
        </p:txBody>
      </p:sp>
      <p:sp>
        <p:nvSpPr>
          <p:cNvPr id="2" name="Title Placeholder 1">
            <a:extLst>
              <a:ext uri="{FF2B5EF4-FFF2-40B4-BE49-F238E27FC236}">
                <a16:creationId xmlns:a16="http://schemas.microsoft.com/office/drawing/2014/main" id="{520FB3CC-93E0-4E44-B4B3-9138134000E6}"/>
              </a:ext>
            </a:extLst>
          </p:cNvPr>
          <p:cNvSpPr>
            <a:spLocks noGrp="1"/>
          </p:cNvSpPr>
          <p:nvPr>
            <p:ph type="title"/>
          </p:nvPr>
        </p:nvSpPr>
        <p:spPr>
          <a:xfrm>
            <a:off x="637953" y="104134"/>
            <a:ext cx="11164188" cy="751350"/>
          </a:xfrm>
          <a:prstGeom prst="rect">
            <a:avLst/>
          </a:prstGeom>
        </p:spPr>
        <p:txBody>
          <a:bodyPr vert="horz" lIns="91440" tIns="45720" rIns="91440" bIns="45720" rtlCol="0" anchor="ctr">
            <a:normAutofit/>
          </a:bodyPr>
          <a:lstStyle/>
          <a:p>
            <a:r>
              <a:rPr lang="en-US"/>
              <a:t>Click to edit Header</a:t>
            </a:r>
          </a:p>
        </p:txBody>
      </p:sp>
    </p:spTree>
    <p:extLst>
      <p:ext uri="{BB962C8B-B14F-4D97-AF65-F5344CB8AC3E}">
        <p14:creationId xmlns:p14="http://schemas.microsoft.com/office/powerpoint/2010/main" val="4111256006"/>
      </p:ext>
    </p:extLst>
  </p:cSld>
  <p:clrMap bg1="lt1" tx1="dk1" bg2="lt2" tx2="dk2" accent1="accent1" accent2="accent2" accent3="accent3" accent4="accent4" accent5="accent5" accent6="accent6" hlink="hlink" folHlink="folHlink"/>
  <p:sldLayoutIdLst>
    <p:sldLayoutId id="2147483743" r:id="rId1"/>
    <p:sldLayoutId id="2147483721" r:id="rId2"/>
    <p:sldLayoutId id="2147483742" r:id="rId3"/>
    <p:sldLayoutId id="2147483748" r:id="rId4"/>
    <p:sldLayoutId id="2147483746" r:id="rId5"/>
    <p:sldLayoutId id="2147483747" r:id="rId6"/>
    <p:sldLayoutId id="2147483744" r:id="rId7"/>
    <p:sldLayoutId id="2147483745" r:id="rId8"/>
    <p:sldLayoutId id="2147483725" r:id="rId9"/>
    <p:sldLayoutId id="2147483756" r:id="rId10"/>
    <p:sldLayoutId id="2147483749" r:id="rId11"/>
    <p:sldLayoutId id="2147483750" r:id="rId12"/>
    <p:sldLayoutId id="2147483751" r:id="rId13"/>
    <p:sldLayoutId id="2147483753" r:id="rId14"/>
    <p:sldLayoutId id="2147483752" r:id="rId15"/>
    <p:sldLayoutId id="2147483720" r:id="rId16"/>
    <p:sldLayoutId id="2147483754" r:id="rId17"/>
    <p:sldLayoutId id="2147483757" r:id="rId18"/>
    <p:sldLayoutId id="2147483758" r:id="rId19"/>
    <p:sldLayoutId id="2147483760" r:id="rId20"/>
    <p:sldLayoutId id="2147483761" r:id="rId21"/>
    <p:sldLayoutId id="2147483762" r:id="rId22"/>
    <p:sldLayoutId id="2147483763" r:id="rId23"/>
    <p:sldLayoutId id="2147483764" r:id="rId24"/>
    <p:sldLayoutId id="2147483765" r:id="rId25"/>
    <p:sldLayoutId id="2147483766" r:id="rId26"/>
    <p:sldLayoutId id="2147483767" r:id="rId27"/>
    <p:sldLayoutId id="2147483768" r:id="rId28"/>
    <p:sldLayoutId id="2147483755" r:id="rId29"/>
    <p:sldLayoutId id="2147483769" r:id="rId30"/>
  </p:sldLayoutIdLst>
  <p:txStyles>
    <p:title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0.xml"/><Relationship Id="rId1" Type="http://schemas.openxmlformats.org/officeDocument/2006/relationships/slideLayout" Target="../slideLayouts/slideLayout1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1.jpeg"/><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11.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3.xml"/><Relationship Id="rId1" Type="http://schemas.openxmlformats.org/officeDocument/2006/relationships/slideLayout" Target="../slideLayouts/slideLayout2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4.xml"/><Relationship Id="rId1" Type="http://schemas.openxmlformats.org/officeDocument/2006/relationships/slideLayout" Target="../slideLayouts/slideLayout1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5.xml"/><Relationship Id="rId1" Type="http://schemas.openxmlformats.org/officeDocument/2006/relationships/slideLayout" Target="../slideLayouts/slideLayout1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8.xml"/><Relationship Id="rId1" Type="http://schemas.openxmlformats.org/officeDocument/2006/relationships/slideLayout" Target="../slideLayouts/slideLayout1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0.xml"/><Relationship Id="rId1" Type="http://schemas.openxmlformats.org/officeDocument/2006/relationships/slideLayout" Target="../slideLayouts/slideLayout2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1.xml"/><Relationship Id="rId1" Type="http://schemas.openxmlformats.org/officeDocument/2006/relationships/slideLayout" Target="../slideLayouts/slideLayout20.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hyperlink" Target="mailto:TSDS_Training@TEA.Texas.gov" TargetMode="External"/><Relationship Id="rId2" Type="http://schemas.openxmlformats.org/officeDocument/2006/relationships/image" Target="../media/image41.jpeg"/><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17.xml"/><Relationship Id="rId7" Type="http://schemas.openxmlformats.org/officeDocument/2006/relationships/image" Target="../media/image43.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2.emf"/><Relationship Id="rId5" Type="http://schemas.openxmlformats.org/officeDocument/2006/relationships/oleObject" Target="../embeddings/oleObject1.bin"/><Relationship Id="rId10" Type="http://schemas.openxmlformats.org/officeDocument/2006/relationships/image" Target="../media/image46.jpeg"/><Relationship Id="rId4" Type="http://schemas.openxmlformats.org/officeDocument/2006/relationships/notesSlide" Target="../notesSlides/notesSlide22.xml"/><Relationship Id="rId9" Type="http://schemas.openxmlformats.org/officeDocument/2006/relationships/image" Target="../media/image45.png"/></Relationships>
</file>

<file path=ppt/slides/_rels/slide27.xml.rels><?xml version="1.0" encoding="UTF-8" standalone="yes"?>
<Relationships xmlns="http://schemas.openxmlformats.org/package/2006/relationships"><Relationship Id="rId3" Type="http://schemas.openxmlformats.org/officeDocument/2006/relationships/hyperlink" Target="mailto:TSDSDeployment@tea.Texas.gov" TargetMode="External"/><Relationship Id="rId2" Type="http://schemas.openxmlformats.org/officeDocument/2006/relationships/notesSlide" Target="../notesSlides/notesSlide23.xml"/><Relationship Id="rId1" Type="http://schemas.openxmlformats.org/officeDocument/2006/relationships/slideLayout" Target="../slideLayouts/slideLayout18.xml"/><Relationship Id="rId4" Type="http://schemas.openxmlformats.org/officeDocument/2006/relationships/hyperlink" Target="mailto:TSDSDeployment@tea.texas.gov" TargetMode="Externa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0.xml"/><Relationship Id="rId1" Type="http://schemas.openxmlformats.org/officeDocument/2006/relationships/slideLayout" Target="../slideLayouts/slideLayout18.xml"/><Relationship Id="rId4" Type="http://schemas.openxmlformats.org/officeDocument/2006/relationships/hyperlink" Target="https://nam10.safelinks.protection.outlook.com/?url=https%3A%2F%2Ftea.texas.gov%2Fabout-tea%2Fnews-and-multimedia%2Fcorrespondence%2Ftaa-letters%2Ftexas-student-data-system-tsds-upgrade-to-ed-fi-3x&amp;data=04%7C01%7CScott.Johnson%40tea.texas.gov%7Cc6aa25ff3b6443dcb0cd08d988201670%7C65d6b3c3723648189613248dbd713a6f%7C0%7C0%7C637690493838773305%7CUnknown%7CTWFpbGZsb3d8eyJWIjoiMC4wLjAwMDAiLCJQIjoiV2luMzIiLCJBTiI6Ik1haWwiLCJXVCI6Mn0%3D%7C1000&amp;sdata=KU4f3XTMP0r%2BxHUIUuMlRksSCuF6Yg%2FA8ztFqfnuylM%3D&amp;reserved=0"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3.png"/><Relationship Id="rId7" Type="http://schemas.openxmlformats.org/officeDocument/2006/relationships/diagramLayout" Target="../diagrams/layout1.xml"/><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diagramData" Target="../diagrams/data1.xml"/><Relationship Id="rId5" Type="http://schemas.openxmlformats.org/officeDocument/2006/relationships/image" Target="../media/image15.jpeg"/><Relationship Id="rId10" Type="http://schemas.microsoft.com/office/2007/relationships/diagramDrawing" Target="../diagrams/drawing1.xml"/><Relationship Id="rId4" Type="http://schemas.openxmlformats.org/officeDocument/2006/relationships/image" Target="../media/image14.jpeg"/><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a:extLst>
              <a:ext uri="{FF2B5EF4-FFF2-40B4-BE49-F238E27FC236}">
                <a16:creationId xmlns:a16="http://schemas.microsoft.com/office/drawing/2014/main" id="{B326E79C-81B1-4F65-9171-E8A934EF331C}"/>
              </a:ext>
            </a:extLst>
          </p:cNvPr>
          <p:cNvSpPr txBox="1">
            <a:spLocks noGrp="1"/>
          </p:cNvSpPr>
          <p:nvPr>
            <p:ph type="title" idx="4294967295"/>
          </p:nvPr>
        </p:nvSpPr>
        <p:spPr>
          <a:xfrm>
            <a:off x="2033890" y="5793635"/>
            <a:ext cx="9630770" cy="751350"/>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lvl1pPr algn="l" defTabSz="914400" rtl="0" eaLnBrk="1" latinLnBrk="0" hangingPunct="1">
              <a:lnSpc>
                <a:spcPct val="90000"/>
              </a:lnSpc>
              <a:spcBef>
                <a:spcPct val="0"/>
              </a:spcBef>
              <a:buNone/>
              <a:defRPr sz="5400" b="1" kern="1200">
                <a:solidFill>
                  <a:schemeClr val="accent1"/>
                </a:solidFill>
                <a:latin typeface="+mn-lt"/>
                <a:ea typeface="+mj-ea"/>
                <a:cs typeface="+mj-cs"/>
              </a:defRPr>
            </a:lvl1pPr>
          </a:lstStyle>
          <a:p>
            <a:pPr>
              <a:defRPr/>
            </a:pPr>
            <a:r>
              <a:rPr lang="en-US" dirty="0">
                <a:cs typeface="Calibri"/>
              </a:rPr>
              <a:t>ODS 3.x</a:t>
            </a:r>
            <a:endParaRPr kumimoji="0" lang="en-US" sz="5400" b="1" i="0" u="none" strike="noStrike" kern="1200" cap="none" spc="0" normalizeH="0" baseline="0" noProof="0" dirty="0">
              <a:ln>
                <a:noFill/>
              </a:ln>
              <a:effectLst/>
              <a:uLnTx/>
              <a:uFillTx/>
              <a:latin typeface="+mn-lt"/>
              <a:ea typeface="+mj-ea"/>
              <a:cs typeface="+mj-cs"/>
            </a:endParaRPr>
          </a:p>
        </p:txBody>
      </p:sp>
    </p:spTree>
    <p:extLst>
      <p:ext uri="{BB962C8B-B14F-4D97-AF65-F5344CB8AC3E}">
        <p14:creationId xmlns:p14="http://schemas.microsoft.com/office/powerpoint/2010/main" val="3679180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Diagram&#10;&#10;Description automatically generated">
            <a:extLst>
              <a:ext uri="{FF2B5EF4-FFF2-40B4-BE49-F238E27FC236}">
                <a16:creationId xmlns:a16="http://schemas.microsoft.com/office/drawing/2014/main" id="{B3C64EE2-F0D7-4BC2-AFA8-4C6775E0ED66}"/>
              </a:ext>
            </a:extLst>
          </p:cNvPr>
          <p:cNvPicPr>
            <a:picLocks noChangeAspect="1"/>
          </p:cNvPicPr>
          <p:nvPr/>
        </p:nvPicPr>
        <p:blipFill>
          <a:blip r:embed="rId2"/>
          <a:stretch>
            <a:fillRect/>
          </a:stretch>
        </p:blipFill>
        <p:spPr>
          <a:xfrm>
            <a:off x="200435" y="1452519"/>
            <a:ext cx="9548558" cy="4351338"/>
          </a:xfrm>
          <a:prstGeom prst="rect">
            <a:avLst/>
          </a:prstGeom>
        </p:spPr>
      </p:pic>
      <p:pic>
        <p:nvPicPr>
          <p:cNvPr id="11" name="Picture 6" descr="Graphical user interface, text, application&#10;&#10;Description automatically generated">
            <a:extLst>
              <a:ext uri="{FF2B5EF4-FFF2-40B4-BE49-F238E27FC236}">
                <a16:creationId xmlns:a16="http://schemas.microsoft.com/office/drawing/2014/main" id="{E8C1A40F-040E-4D03-B661-37B1FA7790AE}"/>
              </a:ext>
            </a:extLst>
          </p:cNvPr>
          <p:cNvPicPr>
            <a:picLocks noChangeAspect="1"/>
          </p:cNvPicPr>
          <p:nvPr/>
        </p:nvPicPr>
        <p:blipFill rotWithShape="1">
          <a:blip r:embed="rId3"/>
          <a:srcRect t="2906"/>
          <a:stretch/>
        </p:blipFill>
        <p:spPr>
          <a:xfrm>
            <a:off x="9828362" y="1506828"/>
            <a:ext cx="2283125" cy="1739807"/>
          </a:xfrm>
          <a:prstGeom prst="rect">
            <a:avLst/>
          </a:prstGeom>
        </p:spPr>
      </p:pic>
      <p:sp>
        <p:nvSpPr>
          <p:cNvPr id="3" name="Rectangle: Rounded Corners 2">
            <a:extLst>
              <a:ext uri="{FF2B5EF4-FFF2-40B4-BE49-F238E27FC236}">
                <a16:creationId xmlns:a16="http://schemas.microsoft.com/office/drawing/2014/main" id="{E407D8F8-465E-4183-BB41-3B601A960C47}"/>
              </a:ext>
            </a:extLst>
          </p:cNvPr>
          <p:cNvSpPr/>
          <p:nvPr/>
        </p:nvSpPr>
        <p:spPr>
          <a:xfrm>
            <a:off x="2360916" y="1442865"/>
            <a:ext cx="1222873" cy="2236424"/>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C5FB032-CB40-4332-A785-7A398E04170D}"/>
              </a:ext>
            </a:extLst>
          </p:cNvPr>
          <p:cNvSpPr/>
          <p:nvPr/>
        </p:nvSpPr>
        <p:spPr>
          <a:xfrm>
            <a:off x="2453569" y="1561512"/>
            <a:ext cx="1028700" cy="310351"/>
          </a:xfrm>
          <a:prstGeom prst="rect">
            <a:avLst/>
          </a:prstGeom>
          <a:solidFill>
            <a:srgbClr val="FFC000"/>
          </a:solidFill>
          <a:ln w="22225">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1</a:t>
            </a:r>
          </a:p>
        </p:txBody>
      </p:sp>
      <p:sp>
        <p:nvSpPr>
          <p:cNvPr id="4" name="Rectangle: Rounded Corners 3">
            <a:extLst>
              <a:ext uri="{FF2B5EF4-FFF2-40B4-BE49-F238E27FC236}">
                <a16:creationId xmlns:a16="http://schemas.microsoft.com/office/drawing/2014/main" id="{C31807BE-FAEF-4A72-A5C5-31D9BBDDD3CD}"/>
              </a:ext>
            </a:extLst>
          </p:cNvPr>
          <p:cNvSpPr/>
          <p:nvPr/>
        </p:nvSpPr>
        <p:spPr>
          <a:xfrm>
            <a:off x="5682207" y="1464470"/>
            <a:ext cx="1705383" cy="1114143"/>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002F0DE-1EB0-4704-AC1D-45B6D7349A43}"/>
              </a:ext>
            </a:extLst>
          </p:cNvPr>
          <p:cNvSpPr/>
          <p:nvPr/>
        </p:nvSpPr>
        <p:spPr>
          <a:xfrm>
            <a:off x="5952024" y="1565728"/>
            <a:ext cx="1120140" cy="287020"/>
          </a:xfrm>
          <a:prstGeom prst="rect">
            <a:avLst/>
          </a:prstGeom>
          <a:solidFill>
            <a:srgbClr val="FFC000"/>
          </a:solidFill>
          <a:ln w="22225">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1.5</a:t>
            </a:r>
          </a:p>
        </p:txBody>
      </p:sp>
      <p:sp>
        <p:nvSpPr>
          <p:cNvPr id="16" name="Rectangle: Rounded Corners 15">
            <a:extLst>
              <a:ext uri="{FF2B5EF4-FFF2-40B4-BE49-F238E27FC236}">
                <a16:creationId xmlns:a16="http://schemas.microsoft.com/office/drawing/2014/main" id="{408DC493-0CD4-4B1E-AAA5-EAD810D97825}"/>
              </a:ext>
            </a:extLst>
          </p:cNvPr>
          <p:cNvSpPr/>
          <p:nvPr/>
        </p:nvSpPr>
        <p:spPr>
          <a:xfrm>
            <a:off x="5649622" y="751691"/>
            <a:ext cx="1737968" cy="3032909"/>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A3FCCBD-1AFD-4B88-81E4-C838D5BB5860}"/>
              </a:ext>
            </a:extLst>
          </p:cNvPr>
          <p:cNvSpPr/>
          <p:nvPr/>
        </p:nvSpPr>
        <p:spPr>
          <a:xfrm>
            <a:off x="5983935" y="895438"/>
            <a:ext cx="1002425" cy="319251"/>
          </a:xfrm>
          <a:prstGeom prst="rect">
            <a:avLst/>
          </a:prstGeom>
          <a:solidFill>
            <a:srgbClr val="FFC000"/>
          </a:solidFill>
          <a:ln w="22225">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2</a:t>
            </a:r>
          </a:p>
        </p:txBody>
      </p:sp>
      <p:sp>
        <p:nvSpPr>
          <p:cNvPr id="20" name="Rectangle 19">
            <a:extLst>
              <a:ext uri="{FF2B5EF4-FFF2-40B4-BE49-F238E27FC236}">
                <a16:creationId xmlns:a16="http://schemas.microsoft.com/office/drawing/2014/main" id="{AABCB049-E182-4A25-9830-E0F8883AE1CB}"/>
              </a:ext>
            </a:extLst>
          </p:cNvPr>
          <p:cNvSpPr/>
          <p:nvPr/>
        </p:nvSpPr>
        <p:spPr>
          <a:xfrm>
            <a:off x="5962610" y="4124057"/>
            <a:ext cx="1303565" cy="266700"/>
          </a:xfrm>
          <a:prstGeom prst="rect">
            <a:avLst/>
          </a:prstGeom>
          <a:solidFill>
            <a:srgbClr val="FFC000"/>
          </a:solidFill>
          <a:ln w="22225">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3</a:t>
            </a:r>
          </a:p>
        </p:txBody>
      </p:sp>
      <p:sp>
        <p:nvSpPr>
          <p:cNvPr id="22" name="Rectangle: Rounded Corners 21">
            <a:extLst>
              <a:ext uri="{FF2B5EF4-FFF2-40B4-BE49-F238E27FC236}">
                <a16:creationId xmlns:a16="http://schemas.microsoft.com/office/drawing/2014/main" id="{A895B480-53C9-47BB-B998-767CDFCAD26E}"/>
              </a:ext>
            </a:extLst>
          </p:cNvPr>
          <p:cNvSpPr/>
          <p:nvPr/>
        </p:nvSpPr>
        <p:spPr>
          <a:xfrm>
            <a:off x="5675060" y="3964854"/>
            <a:ext cx="1814273" cy="1800052"/>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AC3EF770-B08C-46A2-AD4B-B3F8CFD68952}"/>
              </a:ext>
            </a:extLst>
          </p:cNvPr>
          <p:cNvSpPr txBox="1">
            <a:spLocks/>
          </p:cNvSpPr>
          <p:nvPr/>
        </p:nvSpPr>
        <p:spPr>
          <a:xfrm>
            <a:off x="372138" y="141279"/>
            <a:ext cx="11121657" cy="751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endParaRPr lang="en-US" dirty="0"/>
          </a:p>
        </p:txBody>
      </p:sp>
      <p:sp>
        <p:nvSpPr>
          <p:cNvPr id="9" name="Title 8">
            <a:extLst>
              <a:ext uri="{FF2B5EF4-FFF2-40B4-BE49-F238E27FC236}">
                <a16:creationId xmlns:a16="http://schemas.microsoft.com/office/drawing/2014/main" id="{A3797252-C83D-47E0-83BA-AAA8B1568095}"/>
              </a:ext>
            </a:extLst>
          </p:cNvPr>
          <p:cNvSpPr>
            <a:spLocks noGrp="1"/>
          </p:cNvSpPr>
          <p:nvPr>
            <p:ph type="title"/>
          </p:nvPr>
        </p:nvSpPr>
        <p:spPr/>
        <p:txBody>
          <a:bodyPr/>
          <a:lstStyle/>
          <a:p>
            <a:r>
              <a:rPr lang="en-US" dirty="0"/>
              <a:t>LEVELS OF VALIDATIONS</a:t>
            </a:r>
          </a:p>
        </p:txBody>
      </p:sp>
    </p:spTree>
    <p:extLst>
      <p:ext uri="{BB962C8B-B14F-4D97-AF65-F5344CB8AC3E}">
        <p14:creationId xmlns:p14="http://schemas.microsoft.com/office/powerpoint/2010/main" val="13327601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97E95E3F-F3B0-4360-B5DB-16C475FAE988}"/>
              </a:ext>
            </a:extLst>
          </p:cNvPr>
          <p:cNvGraphicFramePr>
            <a:graphicFrameLocks noGrp="1"/>
          </p:cNvGraphicFramePr>
          <p:nvPr>
            <p:ph idx="1"/>
          </p:nvPr>
        </p:nvGraphicFramePr>
        <p:xfrm>
          <a:off x="2336800" y="1146328"/>
          <a:ext cx="9391373" cy="52647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B0FD617F-EA94-4ED5-83AB-8755FC042252}"/>
              </a:ext>
            </a:extLst>
          </p:cNvPr>
          <p:cNvSpPr>
            <a:spLocks noGrp="1"/>
          </p:cNvSpPr>
          <p:nvPr>
            <p:ph type="title"/>
          </p:nvPr>
        </p:nvSpPr>
        <p:spPr/>
        <p:txBody>
          <a:bodyPr>
            <a:noAutofit/>
          </a:bodyPr>
          <a:lstStyle/>
          <a:p>
            <a:r>
              <a:rPr lang="en-US" dirty="0"/>
              <a:t>ATTENDANCE AND ENROLLMENT</a:t>
            </a:r>
          </a:p>
        </p:txBody>
      </p:sp>
    </p:spTree>
    <p:extLst>
      <p:ext uri="{BB962C8B-B14F-4D97-AF65-F5344CB8AC3E}">
        <p14:creationId xmlns:p14="http://schemas.microsoft.com/office/powerpoint/2010/main" val="22120178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mage showing a sign with arrow for &quot;Change&quot; vs an arrow for &quot;Same&quot;">
            <a:extLst>
              <a:ext uri="{FF2B5EF4-FFF2-40B4-BE49-F238E27FC236}">
                <a16:creationId xmlns:a16="http://schemas.microsoft.com/office/drawing/2014/main" id="{E62AA34C-6F40-4A7B-97D7-EB08460CD97E}"/>
              </a:ext>
            </a:extLst>
          </p:cNvPr>
          <p:cNvPicPr>
            <a:picLocks noChangeAspect="1"/>
          </p:cNvPicPr>
          <p:nvPr/>
        </p:nvPicPr>
        <p:blipFill rotWithShape="1">
          <a:blip r:embed="rId3">
            <a:extLst>
              <a:ext uri="{28A0092B-C50C-407E-A947-70E740481C1C}">
                <a14:useLocalDpi xmlns:a14="http://schemas.microsoft.com/office/drawing/2010/main" val="0"/>
              </a:ext>
            </a:extLst>
          </a:blip>
          <a:srcRect l="17456" t="16289" r="14391" b="20108"/>
          <a:stretch/>
        </p:blipFill>
        <p:spPr>
          <a:xfrm>
            <a:off x="6749143" y="1090607"/>
            <a:ext cx="5204732" cy="4601551"/>
          </a:xfrm>
          <a:prstGeom prst="rect">
            <a:avLst/>
          </a:prstGeom>
          <a:ln>
            <a:noFill/>
          </a:ln>
          <a:effectLst>
            <a:softEdge rad="112500"/>
          </a:effectLst>
        </p:spPr>
      </p:pic>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712380" y="153230"/>
            <a:ext cx="11121657" cy="751350"/>
          </a:xfrm>
        </p:spPr>
        <p:txBody>
          <a:bodyPr anchor="ctr">
            <a:normAutofit/>
          </a:bodyPr>
          <a:lstStyle/>
          <a:p>
            <a:r>
              <a:rPr lang="en-US" dirty="0"/>
              <a:t>WHAT IS REMAINING THE SAME?</a:t>
            </a:r>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712380" y="1090608"/>
            <a:ext cx="6036763" cy="4415523"/>
          </a:xfrm>
        </p:spPr>
        <p:txBody>
          <a:bodyPr lIns="91440" tIns="45720" rIns="91440" bIns="45720">
            <a:noAutofit/>
          </a:bodyPr>
          <a:lstStyle/>
          <a:p>
            <a:r>
              <a:rPr lang="en-US" sz="2400" dirty="0"/>
              <a:t>All processes that occur from the </a:t>
            </a:r>
            <a:r>
              <a:rPr lang="en-US" sz="2400" b="1" dirty="0"/>
              <a:t>ODS to the data mart</a:t>
            </a:r>
            <a:r>
              <a:rPr lang="en-US" sz="2400" dirty="0"/>
              <a:t> will remain as-is</a:t>
            </a:r>
          </a:p>
          <a:p>
            <a:r>
              <a:rPr lang="en-US" sz="2400" dirty="0"/>
              <a:t>Reports will remain available in downstream applications</a:t>
            </a:r>
          </a:p>
          <a:p>
            <a:r>
              <a:rPr lang="en-US" sz="2400" dirty="0"/>
              <a:t>Existing business rule validations</a:t>
            </a:r>
          </a:p>
          <a:p>
            <a:pPr>
              <a:spcAft>
                <a:spcPts val="600"/>
              </a:spcAft>
            </a:pPr>
            <a:r>
              <a:rPr lang="en-US" sz="2400" b="1" dirty="0"/>
              <a:t>TEAL</a:t>
            </a:r>
            <a:r>
              <a:rPr lang="en-US" sz="2400" dirty="0"/>
              <a:t> </a:t>
            </a:r>
            <a:r>
              <a:rPr lang="en-US" sz="2400" b="1" dirty="0"/>
              <a:t>authentication</a:t>
            </a:r>
            <a:r>
              <a:rPr lang="en-US" sz="2400" dirty="0"/>
              <a:t> for TSDS applications</a:t>
            </a:r>
          </a:p>
          <a:p>
            <a:pPr>
              <a:spcAft>
                <a:spcPts val="600"/>
              </a:spcAft>
            </a:pPr>
            <a:r>
              <a:rPr lang="en-US" sz="2400" dirty="0"/>
              <a:t>TSDS </a:t>
            </a:r>
            <a:r>
              <a:rPr lang="en-US" sz="2400" b="1" dirty="0"/>
              <a:t>Unique ID assignment</a:t>
            </a:r>
            <a:r>
              <a:rPr lang="en-US" sz="2400" dirty="0"/>
              <a:t> for staff and students</a:t>
            </a:r>
          </a:p>
          <a:p>
            <a:pPr>
              <a:spcAft>
                <a:spcPts val="600"/>
              </a:spcAft>
            </a:pPr>
            <a:r>
              <a:rPr lang="en-US" sz="2400" dirty="0"/>
              <a:t>TSDS Web-Enabled Data Standards (</a:t>
            </a:r>
            <a:r>
              <a:rPr lang="en-US" sz="2400" b="1" dirty="0"/>
              <a:t>TWEDS</a:t>
            </a:r>
            <a:r>
              <a:rPr lang="en-US" sz="2400" dirty="0"/>
              <a:t>) will continue to provide specifications and guidance</a:t>
            </a:r>
          </a:p>
        </p:txBody>
      </p:sp>
      <p:sp>
        <p:nvSpPr>
          <p:cNvPr id="10" name="Slide Number Placeholder 3">
            <a:extLst>
              <a:ext uri="{FF2B5EF4-FFF2-40B4-BE49-F238E27FC236}">
                <a16:creationId xmlns:a16="http://schemas.microsoft.com/office/drawing/2014/main" id="{54FABF07-14C6-45BE-BFC0-95443BB7B4DA}"/>
              </a:ext>
            </a:extLst>
          </p:cNvPr>
          <p:cNvSpPr>
            <a:spLocks noGrp="1"/>
          </p:cNvSpPr>
          <p:nvPr>
            <p:ph type="sldNum" sz="quarter" idx="12"/>
          </p:nvPr>
        </p:nvSpPr>
        <p:spPr>
          <a:xfrm>
            <a:off x="9210675" y="6529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69C126A4-BD19-47E2-8A0E-0DE1B9D8C925}" type="slidenum">
              <a:rPr lang="en-US" smtClean="0"/>
              <a:pPr>
                <a:spcAft>
                  <a:spcPts val="600"/>
                </a:spcAft>
              </a:pPr>
              <a:t>12</a:t>
            </a:fld>
            <a:endParaRPr lang="en-US" dirty="0"/>
          </a:p>
        </p:txBody>
      </p:sp>
    </p:spTree>
    <p:extLst>
      <p:ext uri="{BB962C8B-B14F-4D97-AF65-F5344CB8AC3E}">
        <p14:creationId xmlns:p14="http://schemas.microsoft.com/office/powerpoint/2010/main" val="1951565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712380" y="153230"/>
            <a:ext cx="11121657" cy="751350"/>
          </a:xfrm>
        </p:spPr>
        <p:txBody>
          <a:bodyPr anchor="ctr">
            <a:normAutofit/>
          </a:bodyPr>
          <a:lstStyle/>
          <a:p>
            <a:r>
              <a:rPr lang="en-US" dirty="0"/>
              <a:t>WHAT BENEFITS WILL THE UPGRADE PROVIDE?</a:t>
            </a:r>
          </a:p>
        </p:txBody>
      </p:sp>
      <p:pic>
        <p:nvPicPr>
          <p:cNvPr id="5" name="Content Placeholder 4" descr="Image showing a sign with arrow for &quot;Old&quot; vs an arrow for &quot;New&quot;">
            <a:extLst>
              <a:ext uri="{FF2B5EF4-FFF2-40B4-BE49-F238E27FC236}">
                <a16:creationId xmlns:a16="http://schemas.microsoft.com/office/drawing/2014/main" id="{B4DFDC40-A03B-419C-8385-5E35D6F856A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66045" y="1836851"/>
            <a:ext cx="4181475" cy="2784927"/>
          </a:xfrm>
          <a:effectLst>
            <a:softEdge rad="63500"/>
          </a:effectLst>
        </p:spPr>
      </p:pic>
      <p:sp>
        <p:nvSpPr>
          <p:cNvPr id="12" name="Slide Number Placeholder 3">
            <a:extLst>
              <a:ext uri="{FF2B5EF4-FFF2-40B4-BE49-F238E27FC236}">
                <a16:creationId xmlns:a16="http://schemas.microsoft.com/office/drawing/2014/main" id="{63A73D32-A8E7-414F-8946-39B97563C2A3}"/>
              </a:ext>
            </a:extLst>
          </p:cNvPr>
          <p:cNvSpPr>
            <a:spLocks noGrp="1"/>
          </p:cNvSpPr>
          <p:nvPr>
            <p:ph type="sldNum" sz="quarter" idx="12"/>
          </p:nvPr>
        </p:nvSpPr>
        <p:spPr>
          <a:xfrm>
            <a:off x="9210675" y="652912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69C126A4-BD19-47E2-8A0E-0DE1B9D8C925}" type="slidenum">
              <a:rPr lang="en-US" smtClean="0"/>
              <a:pPr>
                <a:spcAft>
                  <a:spcPts val="600"/>
                </a:spcAft>
              </a:pPr>
              <a:t>13</a:t>
            </a:fld>
            <a:endParaRPr lang="en-US" dirty="0"/>
          </a:p>
        </p:txBody>
      </p:sp>
      <p:graphicFrame>
        <p:nvGraphicFramePr>
          <p:cNvPr id="6" name="Content Placeholder 3">
            <a:extLst>
              <a:ext uri="{FF2B5EF4-FFF2-40B4-BE49-F238E27FC236}">
                <a16:creationId xmlns:a16="http://schemas.microsoft.com/office/drawing/2014/main" id="{DF06E0EE-ABEA-4C33-AC12-737AAF70549A}"/>
              </a:ext>
            </a:extLst>
          </p:cNvPr>
          <p:cNvGraphicFramePr>
            <a:graphicFrameLocks noGrp="1"/>
          </p:cNvGraphicFramePr>
          <p:nvPr>
            <p:ph idx="13"/>
          </p:nvPr>
        </p:nvGraphicFramePr>
        <p:xfrm>
          <a:off x="4894730" y="1048871"/>
          <a:ext cx="7059146" cy="458789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5809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3C509C-249F-45EE-85E1-87BB51E92780}"/>
              </a:ext>
            </a:extLst>
          </p:cNvPr>
          <p:cNvSpPr>
            <a:spLocks noGrp="1"/>
          </p:cNvSpPr>
          <p:nvPr>
            <p:ph type="title"/>
          </p:nvPr>
        </p:nvSpPr>
        <p:spPr/>
        <p:txBody>
          <a:bodyPr/>
          <a:lstStyle/>
          <a:p>
            <a:r>
              <a:rPr lang="en-US" dirty="0"/>
              <a:t>LOCAL USE OF ODS</a:t>
            </a:r>
          </a:p>
        </p:txBody>
      </p:sp>
      <p:graphicFrame>
        <p:nvGraphicFramePr>
          <p:cNvPr id="4" name="Diagram 3">
            <a:extLst>
              <a:ext uri="{FF2B5EF4-FFF2-40B4-BE49-F238E27FC236}">
                <a16:creationId xmlns:a16="http://schemas.microsoft.com/office/drawing/2014/main" id="{E9904696-E8A6-4C88-B8D7-2B852BAD7AF5}"/>
              </a:ext>
            </a:extLst>
          </p:cNvPr>
          <p:cNvGraphicFramePr/>
          <p:nvPr/>
        </p:nvGraphicFramePr>
        <p:xfrm>
          <a:off x="1753509" y="1120140"/>
          <a:ext cx="10559161" cy="54635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1237111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D7006B0-D09E-41C1-AC68-76F2C4270956}"/>
              </a:ext>
            </a:extLst>
          </p:cNvPr>
          <p:cNvSpPr>
            <a:spLocks noGrp="1"/>
          </p:cNvSpPr>
          <p:nvPr>
            <p:ph idx="1"/>
          </p:nvPr>
        </p:nvSpPr>
        <p:spPr>
          <a:xfrm>
            <a:off x="2117000" y="1245045"/>
            <a:ext cx="8988726" cy="5293241"/>
          </a:xfrm>
        </p:spPr>
        <p:txBody>
          <a:bodyPr/>
          <a:lstStyle/>
          <a:p>
            <a:r>
              <a:rPr lang="en-US" b="1" dirty="0"/>
              <a:t>July 2021 – August 2022</a:t>
            </a:r>
          </a:p>
          <a:p>
            <a:pPr lvl="1">
              <a:buFont typeface="Wingdings" panose="05000000000000000000" pitchFamily="2" charset="2"/>
              <a:buChar char="§"/>
            </a:pPr>
            <a:r>
              <a:rPr lang="en-US" dirty="0"/>
              <a:t>Pilot program for TSDS vendors</a:t>
            </a:r>
          </a:p>
          <a:p>
            <a:pPr lvl="1">
              <a:buFont typeface="Wingdings" panose="05000000000000000000" pitchFamily="2" charset="2"/>
              <a:buChar char="§"/>
            </a:pPr>
            <a:r>
              <a:rPr lang="en-US" dirty="0"/>
              <a:t>Consists of a series of mini-pilots</a:t>
            </a:r>
          </a:p>
          <a:p>
            <a:pPr lvl="1"/>
            <a:endParaRPr lang="en-US" dirty="0"/>
          </a:p>
          <a:p>
            <a:r>
              <a:rPr lang="en-US" b="1" dirty="0"/>
              <a:t>August 2022 – August 2023</a:t>
            </a:r>
          </a:p>
          <a:p>
            <a:pPr lvl="1">
              <a:buFont typeface="Wingdings" panose="05000000000000000000" pitchFamily="2" charset="2"/>
              <a:buChar char="§"/>
            </a:pPr>
            <a:r>
              <a:rPr lang="en-US" dirty="0"/>
              <a:t>Parallel submission for participating LEAs</a:t>
            </a:r>
          </a:p>
          <a:p>
            <a:pPr lvl="1">
              <a:buFont typeface="Wingdings" panose="05000000000000000000" pitchFamily="2" charset="2"/>
              <a:buChar char="§"/>
            </a:pPr>
            <a:r>
              <a:rPr lang="en-US" dirty="0"/>
              <a:t>LEAs validate API transactions against XML</a:t>
            </a:r>
          </a:p>
          <a:p>
            <a:pPr lvl="1"/>
            <a:endParaRPr lang="en-US" dirty="0"/>
          </a:p>
          <a:p>
            <a:r>
              <a:rPr lang="en-US" b="1" dirty="0"/>
              <a:t>August 2023 – August 2024</a:t>
            </a:r>
          </a:p>
          <a:p>
            <a:pPr lvl="1">
              <a:buFont typeface="Wingdings" panose="05000000000000000000" pitchFamily="2" charset="2"/>
              <a:buChar char="§"/>
            </a:pPr>
            <a:r>
              <a:rPr lang="en-US" dirty="0"/>
              <a:t>Go-Live for 2023-2024 school year</a:t>
            </a:r>
          </a:p>
          <a:p>
            <a:pPr lvl="1">
              <a:buFont typeface="Wingdings" panose="05000000000000000000" pitchFamily="2" charset="2"/>
              <a:buChar char="§"/>
            </a:pPr>
            <a:r>
              <a:rPr lang="en-US" dirty="0"/>
              <a:t>XML submissions no longer accepted for TSDS</a:t>
            </a:r>
          </a:p>
          <a:p>
            <a:pPr lvl="1"/>
            <a:endParaRPr lang="en-US" dirty="0"/>
          </a:p>
        </p:txBody>
      </p:sp>
      <p:graphicFrame>
        <p:nvGraphicFramePr>
          <p:cNvPr id="4" name="Diagram 3">
            <a:extLst>
              <a:ext uri="{FF2B5EF4-FFF2-40B4-BE49-F238E27FC236}">
                <a16:creationId xmlns:a16="http://schemas.microsoft.com/office/drawing/2014/main" id="{EEDCAF76-BB02-410A-BDFF-5EB2F86885EE}"/>
              </a:ext>
            </a:extLst>
          </p:cNvPr>
          <p:cNvGraphicFramePr/>
          <p:nvPr/>
        </p:nvGraphicFramePr>
        <p:xfrm>
          <a:off x="7801598" y="918625"/>
          <a:ext cx="5178132" cy="5095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itle 6">
            <a:extLst>
              <a:ext uri="{FF2B5EF4-FFF2-40B4-BE49-F238E27FC236}">
                <a16:creationId xmlns:a16="http://schemas.microsoft.com/office/drawing/2014/main" id="{F9A5D8B7-BDA4-4C7A-B6DA-5AD8022DF0D7}"/>
              </a:ext>
            </a:extLst>
          </p:cNvPr>
          <p:cNvSpPr>
            <a:spLocks noGrp="1"/>
          </p:cNvSpPr>
          <p:nvPr>
            <p:ph type="title"/>
          </p:nvPr>
        </p:nvSpPr>
        <p:spPr/>
        <p:txBody>
          <a:bodyPr>
            <a:noAutofit/>
          </a:bodyPr>
          <a:lstStyle/>
          <a:p>
            <a:r>
              <a:rPr lang="en-US" dirty="0">
                <a:cs typeface="Calibri"/>
              </a:rPr>
              <a:t>PHASED IMPLEMENTATION</a:t>
            </a:r>
            <a:endParaRPr lang="en-US" dirty="0"/>
          </a:p>
        </p:txBody>
      </p:sp>
    </p:spTree>
    <p:extLst>
      <p:ext uri="{BB962C8B-B14F-4D97-AF65-F5344CB8AC3E}">
        <p14:creationId xmlns:p14="http://schemas.microsoft.com/office/powerpoint/2010/main" val="16647889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1D7006B0-D09E-41C1-AC68-76F2C4270956}"/>
              </a:ext>
            </a:extLst>
          </p:cNvPr>
          <p:cNvSpPr>
            <a:spLocks noGrp="1"/>
          </p:cNvSpPr>
          <p:nvPr>
            <p:ph idx="1"/>
          </p:nvPr>
        </p:nvSpPr>
        <p:spPr>
          <a:xfrm>
            <a:off x="2136839" y="1042804"/>
            <a:ext cx="9489103" cy="5772100"/>
          </a:xfrm>
        </p:spPr>
        <p:txBody>
          <a:bodyPr/>
          <a:lstStyle/>
          <a:p>
            <a:r>
              <a:rPr lang="en-US" sz="2600" b="1" dirty="0"/>
              <a:t>PURPOSE</a:t>
            </a:r>
            <a:r>
              <a:rPr lang="en-US" sz="2600" dirty="0"/>
              <a:t>: Optional opportunity for vendors to develop and test their product solution through the </a:t>
            </a:r>
            <a:r>
              <a:rPr lang="en-US" sz="2600" b="1" dirty="0"/>
              <a:t>integration, data out, and end-to-end testing </a:t>
            </a:r>
            <a:r>
              <a:rPr lang="en-US" sz="2600" dirty="0"/>
              <a:t>phases</a:t>
            </a:r>
            <a:r>
              <a:rPr lang="en-US" sz="2600" b="1" dirty="0"/>
              <a:t> </a:t>
            </a:r>
            <a:r>
              <a:rPr lang="en-US" sz="2600" dirty="0"/>
              <a:t>in preparation for the 2022-2023 parallel submission year.</a:t>
            </a:r>
          </a:p>
          <a:p>
            <a:endParaRPr lang="en-US" sz="1000" b="1" dirty="0"/>
          </a:p>
          <a:p>
            <a:r>
              <a:rPr lang="en-US" sz="2600" b="1" dirty="0"/>
              <a:t>FOCUS</a:t>
            </a:r>
            <a:r>
              <a:rPr lang="en-US" sz="2600" dirty="0"/>
              <a:t>: For the 2021-2022 Pilot Program, vendors will develop and test against the following TSDS data submission requirements:</a:t>
            </a:r>
            <a:endParaRPr lang="en-US" sz="2600" b="1" dirty="0"/>
          </a:p>
        </p:txBody>
      </p:sp>
      <p:graphicFrame>
        <p:nvGraphicFramePr>
          <p:cNvPr id="9" name="Diagram 8">
            <a:extLst>
              <a:ext uri="{FF2B5EF4-FFF2-40B4-BE49-F238E27FC236}">
                <a16:creationId xmlns:a16="http://schemas.microsoft.com/office/drawing/2014/main" id="{8CEDB963-BFD3-4578-A4D5-BB104CAC1C5C}"/>
              </a:ext>
            </a:extLst>
          </p:cNvPr>
          <p:cNvGraphicFramePr/>
          <p:nvPr/>
        </p:nvGraphicFramePr>
        <p:xfrm>
          <a:off x="2924178" y="3727539"/>
          <a:ext cx="7724128" cy="27825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3">
            <a:extLst>
              <a:ext uri="{FF2B5EF4-FFF2-40B4-BE49-F238E27FC236}">
                <a16:creationId xmlns:a16="http://schemas.microsoft.com/office/drawing/2014/main" id="{ABD342D0-55C1-4F53-9432-BD7EDBDCC220}"/>
              </a:ext>
            </a:extLst>
          </p:cNvPr>
          <p:cNvSpPr>
            <a:spLocks noGrp="1"/>
          </p:cNvSpPr>
          <p:nvPr>
            <p:ph type="title"/>
          </p:nvPr>
        </p:nvSpPr>
        <p:spPr/>
        <p:txBody>
          <a:bodyPr>
            <a:noAutofit/>
          </a:bodyPr>
          <a:lstStyle/>
          <a:p>
            <a:r>
              <a:rPr lang="en-US" dirty="0">
                <a:cs typeface="Calibri"/>
              </a:rPr>
              <a:t>PILOT PROGRAM: 2021-2022</a:t>
            </a:r>
            <a:endParaRPr lang="en-US" dirty="0"/>
          </a:p>
        </p:txBody>
      </p:sp>
    </p:spTree>
    <p:extLst>
      <p:ext uri="{BB962C8B-B14F-4D97-AF65-F5344CB8AC3E}">
        <p14:creationId xmlns:p14="http://schemas.microsoft.com/office/powerpoint/2010/main" val="15733418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552B3A2-F8D1-4244-BE7E-A343ABB830D7}"/>
              </a:ext>
            </a:extLst>
          </p:cNvPr>
          <p:cNvSpPr>
            <a:spLocks noGrp="1"/>
          </p:cNvSpPr>
          <p:nvPr>
            <p:ph type="title"/>
          </p:nvPr>
        </p:nvSpPr>
        <p:spPr/>
        <p:txBody>
          <a:bodyPr/>
          <a:lstStyle/>
          <a:p>
            <a:r>
              <a:rPr lang="en-US" dirty="0"/>
              <a:t>PILOT PROGRAM: TIMELINE</a:t>
            </a:r>
          </a:p>
        </p:txBody>
      </p:sp>
      <p:sp>
        <p:nvSpPr>
          <p:cNvPr id="4" name="TextBox 3">
            <a:extLst>
              <a:ext uri="{FF2B5EF4-FFF2-40B4-BE49-F238E27FC236}">
                <a16:creationId xmlns:a16="http://schemas.microsoft.com/office/drawing/2014/main" id="{611AAD79-6CC1-44AF-941D-C0924A75E736}"/>
              </a:ext>
            </a:extLst>
          </p:cNvPr>
          <p:cNvSpPr txBox="1"/>
          <p:nvPr/>
        </p:nvSpPr>
        <p:spPr>
          <a:xfrm>
            <a:off x="2774666" y="3244334"/>
            <a:ext cx="2006896" cy="369332"/>
          </a:xfrm>
          <a:prstGeom prst="rect">
            <a:avLst/>
          </a:prstGeom>
          <a:noFill/>
        </p:spPr>
        <p:txBody>
          <a:bodyPr wrap="none" rtlCol="0">
            <a:spAutoFit/>
          </a:bodyPr>
          <a:lstStyle/>
          <a:p>
            <a:r>
              <a:rPr lang="en-US" b="1" dirty="0">
                <a:solidFill>
                  <a:schemeClr val="bg1">
                    <a:lumMod val="95000"/>
                  </a:schemeClr>
                </a:solidFill>
              </a:rPr>
              <a:t>TEDS PUBLICATION</a:t>
            </a:r>
          </a:p>
        </p:txBody>
      </p:sp>
      <p:sp>
        <p:nvSpPr>
          <p:cNvPr id="6" name="TextBox 5">
            <a:extLst>
              <a:ext uri="{FF2B5EF4-FFF2-40B4-BE49-F238E27FC236}">
                <a16:creationId xmlns:a16="http://schemas.microsoft.com/office/drawing/2014/main" id="{CA08618C-A33D-4B6A-8E6C-6DEB8404F790}"/>
              </a:ext>
            </a:extLst>
          </p:cNvPr>
          <p:cNvSpPr txBox="1"/>
          <p:nvPr/>
        </p:nvSpPr>
        <p:spPr>
          <a:xfrm>
            <a:off x="5324731" y="3244334"/>
            <a:ext cx="1542538" cy="369332"/>
          </a:xfrm>
          <a:prstGeom prst="rect">
            <a:avLst/>
          </a:prstGeom>
          <a:noFill/>
        </p:spPr>
        <p:txBody>
          <a:bodyPr wrap="none" rtlCol="0">
            <a:spAutoFit/>
          </a:bodyPr>
          <a:lstStyle/>
          <a:p>
            <a:pPr algn="ctr"/>
            <a:r>
              <a:rPr lang="en-US" b="1" dirty="0">
                <a:solidFill>
                  <a:schemeClr val="bg1">
                    <a:lumMod val="95000"/>
                  </a:schemeClr>
                </a:solidFill>
              </a:rPr>
              <a:t>DATA OUTPUT</a:t>
            </a:r>
          </a:p>
        </p:txBody>
      </p:sp>
      <p:sp>
        <p:nvSpPr>
          <p:cNvPr id="7" name="TextBox 6">
            <a:extLst>
              <a:ext uri="{FF2B5EF4-FFF2-40B4-BE49-F238E27FC236}">
                <a16:creationId xmlns:a16="http://schemas.microsoft.com/office/drawing/2014/main" id="{EB074F68-F17F-4F18-B051-FC16C2075B38}"/>
              </a:ext>
            </a:extLst>
          </p:cNvPr>
          <p:cNvSpPr txBox="1"/>
          <p:nvPr/>
        </p:nvSpPr>
        <p:spPr>
          <a:xfrm>
            <a:off x="7387117" y="3244334"/>
            <a:ext cx="2006896" cy="369332"/>
          </a:xfrm>
          <a:prstGeom prst="rect">
            <a:avLst/>
          </a:prstGeom>
          <a:noFill/>
        </p:spPr>
        <p:txBody>
          <a:bodyPr wrap="none" rtlCol="0">
            <a:spAutoFit/>
          </a:bodyPr>
          <a:lstStyle/>
          <a:p>
            <a:r>
              <a:rPr lang="en-US" b="1" dirty="0">
                <a:solidFill>
                  <a:schemeClr val="bg1">
                    <a:lumMod val="95000"/>
                  </a:schemeClr>
                </a:solidFill>
              </a:rPr>
              <a:t>TEDS PUBLICATION</a:t>
            </a:r>
          </a:p>
        </p:txBody>
      </p:sp>
      <p:sp>
        <p:nvSpPr>
          <p:cNvPr id="8" name="TextBox 7">
            <a:extLst>
              <a:ext uri="{FF2B5EF4-FFF2-40B4-BE49-F238E27FC236}">
                <a16:creationId xmlns:a16="http://schemas.microsoft.com/office/drawing/2014/main" id="{E6C66526-4AAA-42B9-A119-C8827E2E8C37}"/>
              </a:ext>
            </a:extLst>
          </p:cNvPr>
          <p:cNvSpPr txBox="1"/>
          <p:nvPr/>
        </p:nvSpPr>
        <p:spPr>
          <a:xfrm>
            <a:off x="9984520" y="3244334"/>
            <a:ext cx="1409553" cy="369332"/>
          </a:xfrm>
          <a:prstGeom prst="rect">
            <a:avLst/>
          </a:prstGeom>
          <a:noFill/>
        </p:spPr>
        <p:txBody>
          <a:bodyPr wrap="none" rtlCol="0">
            <a:spAutoFit/>
          </a:bodyPr>
          <a:lstStyle/>
          <a:p>
            <a:r>
              <a:rPr lang="en-US" b="1" dirty="0">
                <a:solidFill>
                  <a:schemeClr val="bg1">
                    <a:lumMod val="95000"/>
                  </a:schemeClr>
                </a:solidFill>
              </a:rPr>
              <a:t>END-TO-END</a:t>
            </a:r>
          </a:p>
        </p:txBody>
      </p:sp>
      <p:sp>
        <p:nvSpPr>
          <p:cNvPr id="3" name="TextBox 2">
            <a:extLst>
              <a:ext uri="{FF2B5EF4-FFF2-40B4-BE49-F238E27FC236}">
                <a16:creationId xmlns:a16="http://schemas.microsoft.com/office/drawing/2014/main" id="{F6C7CBB7-912E-42E1-92EF-6D83B3297E4F}"/>
              </a:ext>
            </a:extLst>
          </p:cNvPr>
          <p:cNvSpPr txBox="1"/>
          <p:nvPr/>
        </p:nvSpPr>
        <p:spPr>
          <a:xfrm>
            <a:off x="820101" y="1264257"/>
            <a:ext cx="2038635" cy="1384995"/>
          </a:xfrm>
          <a:prstGeom prst="rect">
            <a:avLst/>
          </a:prstGeom>
          <a:noFill/>
        </p:spPr>
        <p:txBody>
          <a:bodyPr wrap="none" rtlCol="0">
            <a:spAutoFit/>
          </a:bodyPr>
          <a:lstStyle/>
          <a:p>
            <a:r>
              <a:rPr lang="en-US" sz="2000" b="1" dirty="0"/>
              <a:t>JULY 2021 – </a:t>
            </a:r>
          </a:p>
          <a:p>
            <a:r>
              <a:rPr lang="en-US" sz="2000" b="1" dirty="0"/>
              <a:t>OCTOBER 2021</a:t>
            </a:r>
          </a:p>
          <a:p>
            <a:r>
              <a:rPr lang="en-US" sz="1200" b="1" dirty="0">
                <a:solidFill>
                  <a:srgbClr val="0D6CB9"/>
                </a:solidFill>
              </a:rPr>
              <a:t>Pilot Vendor 1: PowerSchool </a:t>
            </a:r>
          </a:p>
          <a:p>
            <a:r>
              <a:rPr lang="en-US" sz="1200" dirty="0"/>
              <a:t>SDK &amp; Hosted Sandboxes</a:t>
            </a:r>
          </a:p>
          <a:p>
            <a:endParaRPr lang="en-US" sz="2000" b="1" dirty="0"/>
          </a:p>
        </p:txBody>
      </p:sp>
      <p:sp>
        <p:nvSpPr>
          <p:cNvPr id="9" name="TextBox 8">
            <a:extLst>
              <a:ext uri="{FF2B5EF4-FFF2-40B4-BE49-F238E27FC236}">
                <a16:creationId xmlns:a16="http://schemas.microsoft.com/office/drawing/2014/main" id="{26C2FBAE-0EAD-4518-B38C-66D0AB0A739D}"/>
              </a:ext>
            </a:extLst>
          </p:cNvPr>
          <p:cNvSpPr txBox="1"/>
          <p:nvPr/>
        </p:nvSpPr>
        <p:spPr>
          <a:xfrm>
            <a:off x="2803519" y="4585143"/>
            <a:ext cx="2521212" cy="1384995"/>
          </a:xfrm>
          <a:prstGeom prst="rect">
            <a:avLst/>
          </a:prstGeom>
          <a:noFill/>
        </p:spPr>
        <p:txBody>
          <a:bodyPr wrap="square" rtlCol="0">
            <a:spAutoFit/>
          </a:bodyPr>
          <a:lstStyle/>
          <a:p>
            <a:r>
              <a:rPr lang="en-US" sz="2000" b="1" dirty="0"/>
              <a:t>OCTOBER 2021 - </a:t>
            </a:r>
          </a:p>
          <a:p>
            <a:r>
              <a:rPr lang="en-US" sz="2000" b="1" dirty="0"/>
              <a:t>NOVEMBER 2021</a:t>
            </a:r>
          </a:p>
          <a:p>
            <a:r>
              <a:rPr lang="en-US" sz="1200" dirty="0"/>
              <a:t>Pilot ODS 3.x Data Standards</a:t>
            </a:r>
          </a:p>
          <a:p>
            <a:r>
              <a:rPr lang="en-US" sz="1200" b="1" dirty="0">
                <a:solidFill>
                  <a:srgbClr val="0D6CB9"/>
                </a:solidFill>
              </a:rPr>
              <a:t>Pilot Vendor 2: Ascender </a:t>
            </a:r>
            <a:endParaRPr lang="en-US" sz="1200" dirty="0">
              <a:solidFill>
                <a:srgbClr val="0D6CB9"/>
              </a:solidFill>
            </a:endParaRPr>
          </a:p>
          <a:p>
            <a:endParaRPr lang="en-US" sz="2000" b="1" dirty="0"/>
          </a:p>
        </p:txBody>
      </p:sp>
      <p:sp>
        <p:nvSpPr>
          <p:cNvPr id="10" name="TextBox 9">
            <a:extLst>
              <a:ext uri="{FF2B5EF4-FFF2-40B4-BE49-F238E27FC236}">
                <a16:creationId xmlns:a16="http://schemas.microsoft.com/office/drawing/2014/main" id="{6300136A-47E2-4FCD-9515-A595AFB70F9A}"/>
              </a:ext>
            </a:extLst>
          </p:cNvPr>
          <p:cNvSpPr txBox="1"/>
          <p:nvPr/>
        </p:nvSpPr>
        <p:spPr>
          <a:xfrm>
            <a:off x="4876659" y="1264257"/>
            <a:ext cx="2515047" cy="1077218"/>
          </a:xfrm>
          <a:prstGeom prst="rect">
            <a:avLst/>
          </a:prstGeom>
          <a:noFill/>
        </p:spPr>
        <p:txBody>
          <a:bodyPr wrap="none" rtlCol="0">
            <a:spAutoFit/>
          </a:bodyPr>
          <a:lstStyle/>
          <a:p>
            <a:r>
              <a:rPr lang="en-US" sz="2000" b="1" dirty="0"/>
              <a:t>NOVEMBER 2021 – </a:t>
            </a:r>
          </a:p>
          <a:p>
            <a:r>
              <a:rPr lang="en-US" sz="2000" b="1" dirty="0"/>
              <a:t>MARCH 2022</a:t>
            </a:r>
          </a:p>
          <a:p>
            <a:r>
              <a:rPr lang="en-US" sz="1200" b="1" dirty="0">
                <a:solidFill>
                  <a:srgbClr val="0D6CB9"/>
                </a:solidFill>
              </a:rPr>
              <a:t>Pilot Vendor Cohort – 6 vendors</a:t>
            </a:r>
          </a:p>
          <a:p>
            <a:r>
              <a:rPr lang="en-US" sz="1200" dirty="0"/>
              <a:t>Level 1 Validations &amp; UID Validation </a:t>
            </a:r>
            <a:endParaRPr lang="en-US" sz="2000" b="1" dirty="0">
              <a:solidFill>
                <a:schemeClr val="accent2"/>
              </a:solidFill>
            </a:endParaRPr>
          </a:p>
        </p:txBody>
      </p:sp>
      <p:sp>
        <p:nvSpPr>
          <p:cNvPr id="11" name="TextBox 10">
            <a:extLst>
              <a:ext uri="{FF2B5EF4-FFF2-40B4-BE49-F238E27FC236}">
                <a16:creationId xmlns:a16="http://schemas.microsoft.com/office/drawing/2014/main" id="{E0895200-C6C8-49FB-A7A0-B71BF76FC561}"/>
              </a:ext>
            </a:extLst>
          </p:cNvPr>
          <p:cNvSpPr txBox="1"/>
          <p:nvPr/>
        </p:nvSpPr>
        <p:spPr>
          <a:xfrm>
            <a:off x="7417300" y="4477421"/>
            <a:ext cx="2345450" cy="892552"/>
          </a:xfrm>
          <a:prstGeom prst="rect">
            <a:avLst/>
          </a:prstGeom>
          <a:noFill/>
        </p:spPr>
        <p:txBody>
          <a:bodyPr wrap="square" rtlCol="0">
            <a:spAutoFit/>
          </a:bodyPr>
          <a:lstStyle/>
          <a:p>
            <a:r>
              <a:rPr lang="en-US" sz="2000" b="1" dirty="0"/>
              <a:t>MARCH 2022 – APRIL 2022</a:t>
            </a:r>
          </a:p>
          <a:p>
            <a:r>
              <a:rPr lang="en-US" sz="1200" dirty="0"/>
              <a:t>Updated ODS 3.x Data Standards</a:t>
            </a:r>
          </a:p>
        </p:txBody>
      </p:sp>
      <p:sp>
        <p:nvSpPr>
          <p:cNvPr id="12" name="TextBox 11">
            <a:extLst>
              <a:ext uri="{FF2B5EF4-FFF2-40B4-BE49-F238E27FC236}">
                <a16:creationId xmlns:a16="http://schemas.microsoft.com/office/drawing/2014/main" id="{D4960C86-2779-464C-A863-5D35C319AFFE}"/>
              </a:ext>
            </a:extLst>
          </p:cNvPr>
          <p:cNvSpPr txBox="1"/>
          <p:nvPr/>
        </p:nvSpPr>
        <p:spPr>
          <a:xfrm>
            <a:off x="9593013" y="1264257"/>
            <a:ext cx="1986378" cy="1077218"/>
          </a:xfrm>
          <a:prstGeom prst="rect">
            <a:avLst/>
          </a:prstGeom>
          <a:noFill/>
        </p:spPr>
        <p:txBody>
          <a:bodyPr wrap="none" rtlCol="0">
            <a:spAutoFit/>
          </a:bodyPr>
          <a:lstStyle/>
          <a:p>
            <a:r>
              <a:rPr lang="en-US" sz="2000" b="1" dirty="0"/>
              <a:t>MAY 2022 – </a:t>
            </a:r>
          </a:p>
          <a:p>
            <a:r>
              <a:rPr lang="en-US" sz="2000" b="1" dirty="0"/>
              <a:t>AUGUST 2022</a:t>
            </a:r>
          </a:p>
          <a:p>
            <a:r>
              <a:rPr lang="en-US" sz="1200" dirty="0"/>
              <a:t>Partner LEA Testing (TBD)</a:t>
            </a:r>
          </a:p>
          <a:p>
            <a:r>
              <a:rPr lang="en-US" sz="1200" dirty="0"/>
              <a:t>User Interfaces &amp; Validations</a:t>
            </a:r>
          </a:p>
        </p:txBody>
      </p:sp>
      <p:sp>
        <p:nvSpPr>
          <p:cNvPr id="15" name="TextBox 14">
            <a:extLst>
              <a:ext uri="{FF2B5EF4-FFF2-40B4-BE49-F238E27FC236}">
                <a16:creationId xmlns:a16="http://schemas.microsoft.com/office/drawing/2014/main" id="{685ADD1F-3F30-455B-B370-E0D8C44E4445}"/>
              </a:ext>
            </a:extLst>
          </p:cNvPr>
          <p:cNvSpPr txBox="1"/>
          <p:nvPr/>
        </p:nvSpPr>
        <p:spPr>
          <a:xfrm>
            <a:off x="712380" y="3244334"/>
            <a:ext cx="1501758" cy="369332"/>
          </a:xfrm>
          <a:prstGeom prst="rect">
            <a:avLst/>
          </a:prstGeom>
          <a:noFill/>
        </p:spPr>
        <p:txBody>
          <a:bodyPr wrap="none" rtlCol="0">
            <a:spAutoFit/>
          </a:bodyPr>
          <a:lstStyle/>
          <a:p>
            <a:r>
              <a:rPr lang="en-US" b="1" dirty="0">
                <a:solidFill>
                  <a:schemeClr val="bg1">
                    <a:lumMod val="95000"/>
                  </a:schemeClr>
                </a:solidFill>
              </a:rPr>
              <a:t>INTEGRATION</a:t>
            </a:r>
          </a:p>
        </p:txBody>
      </p:sp>
      <p:sp>
        <p:nvSpPr>
          <p:cNvPr id="2" name="TextBox 1">
            <a:extLst>
              <a:ext uri="{FF2B5EF4-FFF2-40B4-BE49-F238E27FC236}">
                <a16:creationId xmlns:a16="http://schemas.microsoft.com/office/drawing/2014/main" id="{FB8FD336-1759-4E5E-8CF1-123ABFEFA81E}"/>
              </a:ext>
            </a:extLst>
          </p:cNvPr>
          <p:cNvSpPr txBox="1"/>
          <p:nvPr/>
        </p:nvSpPr>
        <p:spPr>
          <a:xfrm>
            <a:off x="288896" y="4581208"/>
            <a:ext cx="1764687" cy="584775"/>
          </a:xfrm>
          <a:prstGeom prst="rect">
            <a:avLst/>
          </a:prstGeom>
          <a:noFill/>
        </p:spPr>
        <p:txBody>
          <a:bodyPr wrap="square" rtlCol="0">
            <a:spAutoFit/>
          </a:bodyPr>
          <a:lstStyle/>
          <a:p>
            <a:r>
              <a:rPr lang="en-US" sz="2000" b="1" dirty="0"/>
              <a:t>MAY 2021</a:t>
            </a:r>
          </a:p>
          <a:p>
            <a:r>
              <a:rPr lang="en-US" sz="1200" dirty="0"/>
              <a:t>Statewide Vendor Kickoff</a:t>
            </a:r>
          </a:p>
        </p:txBody>
      </p:sp>
      <p:pic>
        <p:nvPicPr>
          <p:cNvPr id="22" name="Picture 21">
            <a:extLst>
              <a:ext uri="{FF2B5EF4-FFF2-40B4-BE49-F238E27FC236}">
                <a16:creationId xmlns:a16="http://schemas.microsoft.com/office/drawing/2014/main" id="{873F6D54-C437-4F6B-BBF5-82ADD52AC6AA}"/>
              </a:ext>
            </a:extLst>
          </p:cNvPr>
          <p:cNvPicPr>
            <a:picLocks noChangeAspect="1"/>
          </p:cNvPicPr>
          <p:nvPr/>
        </p:nvPicPr>
        <p:blipFill>
          <a:blip r:embed="rId3"/>
          <a:stretch>
            <a:fillRect/>
          </a:stretch>
        </p:blipFill>
        <p:spPr>
          <a:xfrm>
            <a:off x="333920" y="3664006"/>
            <a:ext cx="133350" cy="895350"/>
          </a:xfrm>
          <a:prstGeom prst="rect">
            <a:avLst/>
          </a:prstGeom>
        </p:spPr>
      </p:pic>
    </p:spTree>
    <p:extLst>
      <p:ext uri="{BB962C8B-B14F-4D97-AF65-F5344CB8AC3E}">
        <p14:creationId xmlns:p14="http://schemas.microsoft.com/office/powerpoint/2010/main" val="18340563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075C2F8-25C1-4A63-BA57-311286B1AB73}"/>
              </a:ext>
            </a:extLst>
          </p:cNvPr>
          <p:cNvGraphicFramePr>
            <a:graphicFrameLocks noGrp="1"/>
          </p:cNvGraphicFramePr>
          <p:nvPr>
            <p:ph idx="1"/>
            <p:extLst>
              <p:ext uri="{D42A27DB-BD31-4B8C-83A1-F6EECF244321}">
                <p14:modId xmlns:p14="http://schemas.microsoft.com/office/powerpoint/2010/main" val="2815827895"/>
              </p:ext>
            </p:extLst>
          </p:nvPr>
        </p:nvGraphicFramePr>
        <p:xfrm>
          <a:off x="2180365" y="2285140"/>
          <a:ext cx="4343265"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a:extLst>
              <a:ext uri="{FF2B5EF4-FFF2-40B4-BE49-F238E27FC236}">
                <a16:creationId xmlns:a16="http://schemas.microsoft.com/office/drawing/2014/main" id="{AA7E32F8-50AA-4E81-8319-AC3C9B3094B2}"/>
              </a:ext>
            </a:extLst>
          </p:cNvPr>
          <p:cNvSpPr>
            <a:spLocks noGrp="1"/>
          </p:cNvSpPr>
          <p:nvPr>
            <p:ph type="title"/>
          </p:nvPr>
        </p:nvSpPr>
        <p:spPr/>
        <p:txBody>
          <a:bodyPr>
            <a:noAutofit/>
          </a:bodyPr>
          <a:lstStyle/>
          <a:p>
            <a:r>
              <a:rPr lang="en-US" dirty="0"/>
              <a:t>PARTICIPATING PILOT VENDORS</a:t>
            </a:r>
          </a:p>
        </p:txBody>
      </p:sp>
      <p:graphicFrame>
        <p:nvGraphicFramePr>
          <p:cNvPr id="6" name="Content Placeholder 3">
            <a:extLst>
              <a:ext uri="{FF2B5EF4-FFF2-40B4-BE49-F238E27FC236}">
                <a16:creationId xmlns:a16="http://schemas.microsoft.com/office/drawing/2014/main" id="{4D10862E-A253-4B25-9A72-848CFAED5823}"/>
              </a:ext>
            </a:extLst>
          </p:cNvPr>
          <p:cNvGraphicFramePr>
            <a:graphicFrameLocks/>
          </p:cNvGraphicFramePr>
          <p:nvPr>
            <p:extLst>
              <p:ext uri="{D42A27DB-BD31-4B8C-83A1-F6EECF244321}">
                <p14:modId xmlns:p14="http://schemas.microsoft.com/office/powerpoint/2010/main" val="3880131948"/>
              </p:ext>
            </p:extLst>
          </p:nvPr>
        </p:nvGraphicFramePr>
        <p:xfrm>
          <a:off x="7136777" y="2285140"/>
          <a:ext cx="4343265" cy="43513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Content Placeholder 4">
            <a:extLst>
              <a:ext uri="{FF2B5EF4-FFF2-40B4-BE49-F238E27FC236}">
                <a16:creationId xmlns:a16="http://schemas.microsoft.com/office/drawing/2014/main" id="{9AF62422-FF29-4BAE-AB9A-D77B0172D6ED}"/>
              </a:ext>
            </a:extLst>
          </p:cNvPr>
          <p:cNvSpPr txBox="1">
            <a:spLocks/>
          </p:cNvSpPr>
          <p:nvPr/>
        </p:nvSpPr>
        <p:spPr>
          <a:xfrm>
            <a:off x="2136839" y="1042804"/>
            <a:ext cx="9489103" cy="5772100"/>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dirty="0"/>
              <a:t>PILOT PROGRAM</a:t>
            </a:r>
            <a:r>
              <a:rPr lang="en-US" sz="2600" dirty="0"/>
              <a:t>: The following vendors have committed to the pilot program. TEA continues to communicate and provide guidance to all source system vendors through frequent webinars.</a:t>
            </a:r>
            <a:endParaRPr lang="en-US" sz="2600" b="1" dirty="0"/>
          </a:p>
        </p:txBody>
      </p:sp>
    </p:spTree>
    <p:extLst>
      <p:ext uri="{BB962C8B-B14F-4D97-AF65-F5344CB8AC3E}">
        <p14:creationId xmlns:p14="http://schemas.microsoft.com/office/powerpoint/2010/main" val="5676525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BD342D0-55C1-4F53-9432-BD7EDBDCC220}"/>
              </a:ext>
            </a:extLst>
          </p:cNvPr>
          <p:cNvSpPr>
            <a:spLocks noGrp="1"/>
          </p:cNvSpPr>
          <p:nvPr>
            <p:ph type="title"/>
          </p:nvPr>
        </p:nvSpPr>
        <p:spPr/>
        <p:txBody>
          <a:bodyPr>
            <a:noAutofit/>
          </a:bodyPr>
          <a:lstStyle/>
          <a:p>
            <a:r>
              <a:rPr lang="en-US" dirty="0">
                <a:cs typeface="Calibri"/>
              </a:rPr>
              <a:t>VENDOR COMMUNICATIONS </a:t>
            </a:r>
            <a:endParaRPr lang="en-US" dirty="0"/>
          </a:p>
        </p:txBody>
      </p:sp>
      <p:graphicFrame>
        <p:nvGraphicFramePr>
          <p:cNvPr id="6" name="Content Placeholder 5">
            <a:extLst>
              <a:ext uri="{FF2B5EF4-FFF2-40B4-BE49-F238E27FC236}">
                <a16:creationId xmlns:a16="http://schemas.microsoft.com/office/drawing/2014/main" id="{579B30AE-CFFC-4F93-8989-614D0AE2FF2F}"/>
              </a:ext>
            </a:extLst>
          </p:cNvPr>
          <p:cNvGraphicFramePr>
            <a:graphicFrameLocks noGrp="1"/>
          </p:cNvGraphicFramePr>
          <p:nvPr>
            <p:ph idx="1"/>
            <p:extLst>
              <p:ext uri="{D42A27DB-BD31-4B8C-83A1-F6EECF244321}">
                <p14:modId xmlns:p14="http://schemas.microsoft.com/office/powerpoint/2010/main" val="4228187764"/>
              </p:ext>
            </p:extLst>
          </p:nvPr>
        </p:nvGraphicFramePr>
        <p:xfrm>
          <a:off x="2730054" y="2300647"/>
          <a:ext cx="8256396" cy="433217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Content Placeholder 4">
            <a:extLst>
              <a:ext uri="{FF2B5EF4-FFF2-40B4-BE49-F238E27FC236}">
                <a16:creationId xmlns:a16="http://schemas.microsoft.com/office/drawing/2014/main" id="{B2388BF2-E696-4044-988C-808977E34C8A}"/>
              </a:ext>
            </a:extLst>
          </p:cNvPr>
          <p:cNvSpPr txBox="1">
            <a:spLocks/>
          </p:cNvSpPr>
          <p:nvPr/>
        </p:nvSpPr>
        <p:spPr>
          <a:xfrm>
            <a:off x="2136839" y="1042804"/>
            <a:ext cx="9489103" cy="5772100"/>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600" b="1" dirty="0"/>
              <a:t>WEBINARS</a:t>
            </a:r>
            <a:r>
              <a:rPr lang="en-US" sz="2600" dirty="0"/>
              <a:t>: TEA has conducted the following statewide webinars for sources system vendors to attend and receive information and guidance on this project. </a:t>
            </a:r>
            <a:endParaRPr lang="en-US" sz="1000" b="1" dirty="0"/>
          </a:p>
        </p:txBody>
      </p:sp>
    </p:spTree>
    <p:extLst>
      <p:ext uri="{BB962C8B-B14F-4D97-AF65-F5344CB8AC3E}">
        <p14:creationId xmlns:p14="http://schemas.microsoft.com/office/powerpoint/2010/main" val="15354315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726A92-BC31-4481-93A2-EECFCB56AD22}"/>
              </a:ext>
            </a:extLst>
          </p:cNvPr>
          <p:cNvSpPr>
            <a:spLocks noGrp="1"/>
          </p:cNvSpPr>
          <p:nvPr>
            <p:ph type="title"/>
          </p:nvPr>
        </p:nvSpPr>
        <p:spPr/>
        <p:txBody>
          <a:bodyPr/>
          <a:lstStyle/>
          <a:p>
            <a:r>
              <a:rPr lang="en-US" dirty="0">
                <a:cs typeface="Calibri"/>
              </a:rPr>
              <a:t>AGENDA</a:t>
            </a:r>
            <a:endParaRPr lang="en-US" dirty="0"/>
          </a:p>
        </p:txBody>
      </p:sp>
      <p:sp>
        <p:nvSpPr>
          <p:cNvPr id="4" name="Content Placeholder 3">
            <a:extLst>
              <a:ext uri="{FF2B5EF4-FFF2-40B4-BE49-F238E27FC236}">
                <a16:creationId xmlns:a16="http://schemas.microsoft.com/office/drawing/2014/main" id="{9F800888-D9B6-49F1-8B90-B7E4BB43ED5B}"/>
              </a:ext>
            </a:extLst>
          </p:cNvPr>
          <p:cNvSpPr>
            <a:spLocks noGrp="1"/>
          </p:cNvSpPr>
          <p:nvPr>
            <p:ph idx="1"/>
          </p:nvPr>
        </p:nvSpPr>
        <p:spPr>
          <a:xfrm>
            <a:off x="712380" y="904580"/>
            <a:ext cx="10623762" cy="5564459"/>
          </a:xfrm>
        </p:spPr>
        <p:txBody>
          <a:bodyPr lIns="91440" tIns="45720" rIns="91440" bIns="45720" anchor="t"/>
          <a:lstStyle/>
          <a:p>
            <a:r>
              <a:rPr lang="en-US" sz="2400" b="1" dirty="0">
                <a:solidFill>
                  <a:srgbClr val="0D6CB9"/>
                </a:solidFill>
                <a:ea typeface="+mn-lt"/>
                <a:cs typeface="+mn-lt"/>
              </a:rPr>
              <a:t>ODS 3.x</a:t>
            </a:r>
            <a:endParaRPr lang="en-US" sz="2400" dirty="0">
              <a:solidFill>
                <a:srgbClr val="0D6CB9"/>
              </a:solidFill>
              <a:ea typeface="+mn-lt"/>
              <a:cs typeface="+mn-lt"/>
            </a:endParaRPr>
          </a:p>
          <a:p>
            <a:pPr lvl="1"/>
            <a:r>
              <a:rPr lang="en-US" sz="2000" dirty="0">
                <a:cs typeface="Calibri"/>
              </a:rPr>
              <a:t>Overview and Background</a:t>
            </a:r>
          </a:p>
          <a:p>
            <a:pPr lvl="2"/>
            <a:r>
              <a:rPr lang="en-US" sz="1600" dirty="0">
                <a:cs typeface="Calibri"/>
              </a:rPr>
              <a:t>Current Process vs Planned Process</a:t>
            </a:r>
          </a:p>
          <a:p>
            <a:pPr lvl="2"/>
            <a:r>
              <a:rPr lang="en-US" sz="1600" dirty="0">
                <a:cs typeface="Calibri"/>
              </a:rPr>
              <a:t>High Level Architecture &amp; User Process Flow</a:t>
            </a:r>
          </a:p>
          <a:p>
            <a:pPr lvl="2"/>
            <a:r>
              <a:rPr lang="en-US" sz="1600" dirty="0">
                <a:cs typeface="Calibri"/>
              </a:rPr>
              <a:t>Key Changes &amp; Expected Benefits</a:t>
            </a:r>
          </a:p>
          <a:p>
            <a:pPr lvl="2"/>
            <a:endParaRPr lang="en-US" sz="600" dirty="0">
              <a:cs typeface="Calibri"/>
            </a:endParaRPr>
          </a:p>
          <a:p>
            <a:pPr lvl="1"/>
            <a:r>
              <a:rPr lang="en-US" sz="2000" dirty="0">
                <a:ea typeface="+mn-lt"/>
                <a:cs typeface="+mn-lt"/>
              </a:rPr>
              <a:t>Phased Implementation </a:t>
            </a:r>
          </a:p>
          <a:p>
            <a:pPr lvl="2"/>
            <a:r>
              <a:rPr lang="en-US" sz="1600" dirty="0">
                <a:ea typeface="+mn-lt"/>
                <a:cs typeface="+mn-lt"/>
              </a:rPr>
              <a:t>Pilot Program</a:t>
            </a:r>
          </a:p>
          <a:p>
            <a:pPr lvl="2"/>
            <a:r>
              <a:rPr lang="en-US" sz="1600" dirty="0">
                <a:ea typeface="+mn-lt"/>
                <a:cs typeface="+mn-lt"/>
              </a:rPr>
              <a:t>Parallel Submission </a:t>
            </a:r>
          </a:p>
          <a:p>
            <a:pPr lvl="2"/>
            <a:r>
              <a:rPr lang="en-US" sz="1600" dirty="0">
                <a:ea typeface="+mn-lt"/>
                <a:cs typeface="+mn-lt"/>
              </a:rPr>
              <a:t>LEA Partnerships </a:t>
            </a:r>
          </a:p>
          <a:p>
            <a:pPr lvl="2"/>
            <a:endParaRPr lang="en-US" sz="600" dirty="0">
              <a:ea typeface="+mn-lt"/>
              <a:cs typeface="+mn-lt"/>
            </a:endParaRPr>
          </a:p>
          <a:p>
            <a:pPr lvl="1"/>
            <a:r>
              <a:rPr lang="en-US" sz="2000" dirty="0">
                <a:ea typeface="+mn-lt"/>
                <a:cs typeface="+mn-lt"/>
              </a:rPr>
              <a:t>Training and Support</a:t>
            </a:r>
          </a:p>
          <a:p>
            <a:pPr lvl="2"/>
            <a:r>
              <a:rPr lang="en-US" sz="1600" dirty="0">
                <a:ea typeface="+mn-lt"/>
                <a:cs typeface="+mn-lt"/>
              </a:rPr>
              <a:t>Training for ESC Champions</a:t>
            </a:r>
          </a:p>
          <a:p>
            <a:pPr lvl="2"/>
            <a:r>
              <a:rPr lang="en-US" sz="1600" dirty="0">
                <a:ea typeface="+mn-lt"/>
                <a:cs typeface="+mn-lt"/>
              </a:rPr>
              <a:t>Supporting Parallel Submission </a:t>
            </a:r>
          </a:p>
          <a:p>
            <a:pPr lvl="2"/>
            <a:endParaRPr lang="en-US" sz="600" dirty="0">
              <a:ea typeface="+mn-lt"/>
              <a:cs typeface="+mn-lt"/>
            </a:endParaRPr>
          </a:p>
          <a:p>
            <a:pPr lvl="1"/>
            <a:r>
              <a:rPr lang="en-US" sz="2000" dirty="0">
                <a:ea typeface="+mn-lt"/>
                <a:cs typeface="+mn-lt"/>
              </a:rPr>
              <a:t>Resources </a:t>
            </a:r>
          </a:p>
          <a:p>
            <a:pPr lvl="2"/>
            <a:r>
              <a:rPr lang="en-US" sz="1600" dirty="0">
                <a:ea typeface="+mn-lt"/>
                <a:cs typeface="+mn-lt"/>
              </a:rPr>
              <a:t>Frequently Asked Questions</a:t>
            </a:r>
          </a:p>
          <a:p>
            <a:pPr lvl="2"/>
            <a:r>
              <a:rPr lang="en-US" sz="1600" dirty="0">
                <a:ea typeface="+mn-lt"/>
                <a:cs typeface="+mn-lt"/>
              </a:rPr>
              <a:t>To the Administrator Addressed (TAA)</a:t>
            </a:r>
          </a:p>
          <a:p>
            <a:endParaRPr lang="en-US" dirty="0">
              <a:cs typeface="Calibri"/>
            </a:endParaRPr>
          </a:p>
        </p:txBody>
      </p:sp>
    </p:spTree>
    <p:extLst>
      <p:ext uri="{BB962C8B-B14F-4D97-AF65-F5344CB8AC3E}">
        <p14:creationId xmlns:p14="http://schemas.microsoft.com/office/powerpoint/2010/main" val="259091512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603A024-A7BC-49FB-A888-A9611E7850D4}"/>
              </a:ext>
            </a:extLst>
          </p:cNvPr>
          <p:cNvSpPr>
            <a:spLocks noGrp="1"/>
          </p:cNvSpPr>
          <p:nvPr>
            <p:ph type="title"/>
          </p:nvPr>
        </p:nvSpPr>
        <p:spPr/>
        <p:txBody>
          <a:bodyPr/>
          <a:lstStyle/>
          <a:p>
            <a:r>
              <a:rPr lang="en-US" dirty="0"/>
              <a:t>PARALLEL SUBMISSION</a:t>
            </a:r>
          </a:p>
        </p:txBody>
      </p:sp>
      <p:sp>
        <p:nvSpPr>
          <p:cNvPr id="8" name="Content Placeholder 7">
            <a:extLst>
              <a:ext uri="{FF2B5EF4-FFF2-40B4-BE49-F238E27FC236}">
                <a16:creationId xmlns:a16="http://schemas.microsoft.com/office/drawing/2014/main" id="{5C6267B8-1789-4E79-A5C7-21A61C000E94}"/>
              </a:ext>
            </a:extLst>
          </p:cNvPr>
          <p:cNvSpPr>
            <a:spLocks noGrp="1"/>
          </p:cNvSpPr>
          <p:nvPr>
            <p:ph idx="1"/>
          </p:nvPr>
        </p:nvSpPr>
        <p:spPr>
          <a:xfrm>
            <a:off x="2246780" y="1244479"/>
            <a:ext cx="4871557" cy="4402455"/>
          </a:xfrm>
        </p:spPr>
        <p:txBody>
          <a:bodyPr/>
          <a:lstStyle/>
          <a:p>
            <a:pPr marL="0" indent="0">
              <a:buNone/>
            </a:pPr>
            <a:r>
              <a:rPr lang="en-US" sz="3200" b="1" dirty="0"/>
              <a:t>2022-2023</a:t>
            </a:r>
            <a:r>
              <a:rPr lang="en-US" sz="3200" dirty="0"/>
              <a:t>: Parallel Year</a:t>
            </a:r>
          </a:p>
          <a:p>
            <a:pPr lvl="1"/>
            <a:endParaRPr lang="en-US" sz="2800" b="1" dirty="0">
              <a:solidFill>
                <a:schemeClr val="accent2"/>
              </a:solidFill>
            </a:endParaRPr>
          </a:p>
          <a:p>
            <a:pPr lvl="1"/>
            <a:r>
              <a:rPr lang="en-US" sz="2600" b="1" dirty="0"/>
              <a:t>LEAs will submit both XML and API data  </a:t>
            </a:r>
          </a:p>
          <a:p>
            <a:pPr lvl="1"/>
            <a:endParaRPr lang="en-US" sz="2600" b="1" dirty="0"/>
          </a:p>
          <a:p>
            <a:pPr lvl="1"/>
            <a:r>
              <a:rPr lang="en-US" sz="2600" b="1" dirty="0"/>
              <a:t>LEAs will validate against reports and validations</a:t>
            </a:r>
          </a:p>
          <a:p>
            <a:pPr lvl="1"/>
            <a:endParaRPr lang="en-US" sz="2600" b="1" dirty="0"/>
          </a:p>
          <a:p>
            <a:pPr lvl="1"/>
            <a:r>
              <a:rPr lang="en-US" sz="2600" b="1" dirty="0"/>
              <a:t>Obtain TSDS compatible designation</a:t>
            </a:r>
          </a:p>
          <a:p>
            <a:endParaRPr lang="en-US" sz="3600" dirty="0"/>
          </a:p>
          <a:p>
            <a:endParaRPr lang="en-US" dirty="0"/>
          </a:p>
        </p:txBody>
      </p:sp>
      <p:sp>
        <p:nvSpPr>
          <p:cNvPr id="9" name="Text Placeholder 8">
            <a:extLst>
              <a:ext uri="{FF2B5EF4-FFF2-40B4-BE49-F238E27FC236}">
                <a16:creationId xmlns:a16="http://schemas.microsoft.com/office/drawing/2014/main" id="{C1C1F9F0-2AAE-46AF-AC60-414E85A86FFC}"/>
              </a:ext>
            </a:extLst>
          </p:cNvPr>
          <p:cNvSpPr>
            <a:spLocks noGrp="1"/>
          </p:cNvSpPr>
          <p:nvPr>
            <p:ph type="body" sz="quarter" idx="13"/>
          </p:nvPr>
        </p:nvSpPr>
        <p:spPr>
          <a:xfrm>
            <a:off x="7206713" y="1244479"/>
            <a:ext cx="4633992" cy="4494819"/>
          </a:xfrm>
          <a:solidFill>
            <a:schemeClr val="accent1"/>
          </a:solidFill>
        </p:spPr>
        <p:txBody>
          <a:bodyPr/>
          <a:lstStyle/>
          <a:p>
            <a:pPr marL="0" indent="0" algn="ctr">
              <a:buNone/>
            </a:pPr>
            <a:r>
              <a:rPr lang="en-US" sz="3200" b="1" dirty="0">
                <a:solidFill>
                  <a:schemeClr val="bg1"/>
                </a:solidFill>
              </a:rPr>
              <a:t>2023-2024</a:t>
            </a:r>
            <a:r>
              <a:rPr lang="en-US" sz="3200" dirty="0">
                <a:solidFill>
                  <a:schemeClr val="bg1"/>
                </a:solidFill>
              </a:rPr>
              <a:t>: Go-Live Year</a:t>
            </a:r>
          </a:p>
          <a:p>
            <a:pPr marL="742950" lvl="1" indent="-285750"/>
            <a:endParaRPr lang="en-US" sz="2800" b="1" dirty="0">
              <a:solidFill>
                <a:schemeClr val="bg1"/>
              </a:solidFill>
            </a:endParaRPr>
          </a:p>
          <a:p>
            <a:pPr marL="742950" lvl="1" indent="-285750"/>
            <a:r>
              <a:rPr lang="en-US" sz="2600" b="1" dirty="0">
                <a:solidFill>
                  <a:schemeClr val="bg1"/>
                </a:solidFill>
              </a:rPr>
              <a:t>Only API transactions will be accepted for TSDS</a:t>
            </a:r>
          </a:p>
          <a:p>
            <a:pPr marL="457200" lvl="1" indent="0">
              <a:buNone/>
            </a:pPr>
            <a:endParaRPr lang="en-US" sz="2600" b="1" dirty="0">
              <a:solidFill>
                <a:schemeClr val="bg1"/>
              </a:solidFill>
            </a:endParaRPr>
          </a:p>
          <a:p>
            <a:pPr marL="742950" lvl="1" indent="-285750"/>
            <a:r>
              <a:rPr lang="en-US" sz="2600" b="1" dirty="0">
                <a:solidFill>
                  <a:schemeClr val="bg1"/>
                </a:solidFill>
              </a:rPr>
              <a:t>XML data loads will </a:t>
            </a:r>
            <a:r>
              <a:rPr lang="en-US" sz="2600" b="1" u="sng" dirty="0">
                <a:solidFill>
                  <a:schemeClr val="bg1"/>
                </a:solidFill>
              </a:rPr>
              <a:t>not</a:t>
            </a:r>
            <a:r>
              <a:rPr lang="en-US" sz="2600" b="1" dirty="0">
                <a:solidFill>
                  <a:schemeClr val="bg1"/>
                </a:solidFill>
              </a:rPr>
              <a:t> be available</a:t>
            </a:r>
          </a:p>
          <a:p>
            <a:pPr marL="742950" lvl="1" indent="-285750"/>
            <a:endParaRPr lang="en-US" sz="2600" b="1" dirty="0">
              <a:solidFill>
                <a:schemeClr val="bg1"/>
              </a:solidFill>
            </a:endParaRPr>
          </a:p>
          <a:p>
            <a:pPr marL="742950" lvl="1" indent="-285750"/>
            <a:r>
              <a:rPr lang="en-US" sz="2600" b="1" dirty="0">
                <a:solidFill>
                  <a:schemeClr val="bg1"/>
                </a:solidFill>
              </a:rPr>
              <a:t>Complete vendor readiness </a:t>
            </a:r>
          </a:p>
          <a:p>
            <a:endParaRPr lang="en-US" sz="2800" dirty="0">
              <a:solidFill>
                <a:schemeClr val="bg1"/>
              </a:solidFill>
            </a:endParaRPr>
          </a:p>
        </p:txBody>
      </p:sp>
      <p:sp>
        <p:nvSpPr>
          <p:cNvPr id="5" name="TextBox 4">
            <a:extLst>
              <a:ext uri="{FF2B5EF4-FFF2-40B4-BE49-F238E27FC236}">
                <a16:creationId xmlns:a16="http://schemas.microsoft.com/office/drawing/2014/main" id="{23C52C92-1F6D-4198-B06B-44D78E76F676}"/>
              </a:ext>
            </a:extLst>
          </p:cNvPr>
          <p:cNvSpPr txBox="1"/>
          <p:nvPr/>
        </p:nvSpPr>
        <p:spPr>
          <a:xfrm>
            <a:off x="2481908" y="5739298"/>
            <a:ext cx="9272859" cy="954107"/>
          </a:xfrm>
          <a:prstGeom prst="rect">
            <a:avLst/>
          </a:prstGeom>
          <a:noFill/>
        </p:spPr>
        <p:txBody>
          <a:bodyPr wrap="none" rtlCol="0">
            <a:spAutoFit/>
          </a:bodyPr>
          <a:lstStyle/>
          <a:p>
            <a:r>
              <a:rPr lang="en-US" sz="2800" dirty="0"/>
              <a:t>For the </a:t>
            </a:r>
            <a:r>
              <a:rPr lang="en-US" sz="2800" b="1" dirty="0"/>
              <a:t>2022-2023 parallel submission </a:t>
            </a:r>
            <a:r>
              <a:rPr lang="en-US" sz="2800" dirty="0"/>
              <a:t>year, TEA would expect </a:t>
            </a:r>
          </a:p>
          <a:p>
            <a:r>
              <a:rPr lang="en-US" sz="2800" dirty="0"/>
              <a:t>to have </a:t>
            </a:r>
            <a:r>
              <a:rPr lang="en-US" sz="2800" b="1" dirty="0"/>
              <a:t>250 LEAs </a:t>
            </a:r>
            <a:r>
              <a:rPr lang="en-US" sz="2800" dirty="0"/>
              <a:t>participating to ensure system readiness.</a:t>
            </a:r>
          </a:p>
        </p:txBody>
      </p:sp>
    </p:spTree>
    <p:extLst>
      <p:ext uri="{BB962C8B-B14F-4D97-AF65-F5344CB8AC3E}">
        <p14:creationId xmlns:p14="http://schemas.microsoft.com/office/powerpoint/2010/main" val="28445962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0A57A0C6-4A33-49F3-95F5-51B468402804}"/>
              </a:ext>
            </a:extLst>
          </p:cNvPr>
          <p:cNvSpPr/>
          <p:nvPr/>
        </p:nvSpPr>
        <p:spPr>
          <a:xfrm>
            <a:off x="2016087" y="3877937"/>
            <a:ext cx="1972019" cy="2401677"/>
          </a:xfrm>
          <a:prstGeom prst="roundRect">
            <a:avLst/>
          </a:prstGeom>
          <a:solidFill>
            <a:schemeClr val="bg1">
              <a:lumMod val="85000"/>
            </a:schemeClr>
          </a:solid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ontent Placeholder 4">
            <a:extLst>
              <a:ext uri="{FF2B5EF4-FFF2-40B4-BE49-F238E27FC236}">
                <a16:creationId xmlns:a16="http://schemas.microsoft.com/office/drawing/2014/main" id="{1D7006B0-D09E-41C1-AC68-76F2C4270956}"/>
              </a:ext>
            </a:extLst>
          </p:cNvPr>
          <p:cNvSpPr>
            <a:spLocks noGrp="1"/>
          </p:cNvSpPr>
          <p:nvPr>
            <p:ph type="body" sz="quarter" idx="13"/>
          </p:nvPr>
        </p:nvSpPr>
        <p:spPr>
          <a:xfrm>
            <a:off x="7719237" y="1104405"/>
            <a:ext cx="4092480" cy="5404679"/>
          </a:xfr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w="76200">
            <a:solidFill>
              <a:schemeClr val="tx1"/>
            </a:solidFill>
          </a:ln>
        </p:spPr>
        <p:style>
          <a:lnRef idx="0">
            <a:scrgbClr r="0" g="0" b="0"/>
          </a:lnRef>
          <a:fillRef idx="0">
            <a:scrgbClr r="0" g="0" b="0"/>
          </a:fillRef>
          <a:effectRef idx="0">
            <a:scrgbClr r="0" g="0" b="0"/>
          </a:effectRef>
          <a:fontRef idx="minor">
            <a:schemeClr val="lt1"/>
          </a:fontRef>
        </p:style>
        <p:txBody>
          <a:bodyPr>
            <a:normAutofit/>
          </a:bodyPr>
          <a:lstStyle/>
          <a:p>
            <a:pPr marL="0" indent="0">
              <a:buNone/>
            </a:pPr>
            <a:endParaRPr lang="en-US" sz="1800" b="1" dirty="0"/>
          </a:p>
          <a:p>
            <a:pPr marL="0" indent="0">
              <a:buNone/>
            </a:pPr>
            <a:r>
              <a:rPr lang="en-US" sz="2200" b="1" u="sng" dirty="0">
                <a:solidFill>
                  <a:schemeClr val="bg1"/>
                </a:solidFill>
              </a:rPr>
              <a:t>Parallel Submission (2022-2023)</a:t>
            </a:r>
          </a:p>
          <a:p>
            <a:pPr marL="342900"/>
            <a:r>
              <a:rPr lang="en-US" sz="1700" dirty="0"/>
              <a:t>Each vendor will partner with at </a:t>
            </a:r>
            <a:r>
              <a:rPr lang="en-US" sz="1700" b="1" dirty="0"/>
              <a:t>least one LEA </a:t>
            </a:r>
            <a:r>
              <a:rPr lang="en-US" sz="1700" dirty="0"/>
              <a:t>to submit API data based upon the TEDS 3.x specifications, along with their current XML data submissions.</a:t>
            </a:r>
          </a:p>
          <a:p>
            <a:pPr marL="342900"/>
            <a:endParaRPr lang="en-US" sz="1700" dirty="0"/>
          </a:p>
          <a:p>
            <a:pPr marL="342900"/>
            <a:r>
              <a:rPr lang="en-US" sz="1700" b="1" dirty="0"/>
              <a:t>LEAs</a:t>
            </a:r>
            <a:r>
              <a:rPr lang="en-US" sz="1700" dirty="0"/>
              <a:t> </a:t>
            </a:r>
            <a:r>
              <a:rPr lang="en-US" sz="1700" b="1" dirty="0"/>
              <a:t>will verify </a:t>
            </a:r>
            <a:r>
              <a:rPr lang="en-US" sz="1700" dirty="0"/>
              <a:t>the ODS 3.x data against their official 2022-2023 TSDS submissions to ensure vendor readiness for the go-live year in 2023-2024. </a:t>
            </a:r>
          </a:p>
          <a:p>
            <a:pPr marL="342900"/>
            <a:endParaRPr lang="en-US" sz="1700" dirty="0"/>
          </a:p>
          <a:p>
            <a:pPr marL="342900"/>
            <a:r>
              <a:rPr lang="en-US" sz="1700" dirty="0"/>
              <a:t>TEA will be coordinating with source system vendors and ESCs to solicit parallel LEAs in the coming months. </a:t>
            </a:r>
            <a:r>
              <a:rPr lang="en-US" sz="1700" b="1" dirty="0"/>
              <a:t>LEAs should contact their vendor(s)</a:t>
            </a:r>
            <a:r>
              <a:rPr lang="en-US" sz="1700" dirty="0"/>
              <a:t> if interested. </a:t>
            </a:r>
          </a:p>
          <a:p>
            <a:pPr marL="342900"/>
            <a:endParaRPr lang="en-US" sz="1700" dirty="0"/>
          </a:p>
        </p:txBody>
      </p:sp>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12290" y="199694"/>
            <a:ext cx="9515883" cy="542429"/>
          </a:xfrm>
        </p:spPr>
        <p:txBody>
          <a:bodyPr anchor="ctr">
            <a:noAutofit/>
          </a:bodyPr>
          <a:lstStyle/>
          <a:p>
            <a:r>
              <a:rPr lang="en-US" dirty="0"/>
              <a:t>LEA PARTNERSHIPS</a:t>
            </a:r>
          </a:p>
        </p:txBody>
      </p:sp>
      <p:graphicFrame>
        <p:nvGraphicFramePr>
          <p:cNvPr id="4" name="Content Placeholder 3">
            <a:extLst>
              <a:ext uri="{FF2B5EF4-FFF2-40B4-BE49-F238E27FC236}">
                <a16:creationId xmlns:a16="http://schemas.microsoft.com/office/drawing/2014/main" id="{9D99CE21-2383-44AC-9D51-DCA2E9A8229E}"/>
              </a:ext>
            </a:extLst>
          </p:cNvPr>
          <p:cNvGraphicFramePr>
            <a:graphicFrameLocks noGrp="1"/>
          </p:cNvGraphicFramePr>
          <p:nvPr>
            <p:ph idx="1"/>
            <p:extLst>
              <p:ext uri="{D42A27DB-BD31-4B8C-83A1-F6EECF244321}">
                <p14:modId xmlns:p14="http://schemas.microsoft.com/office/powerpoint/2010/main" val="153103720"/>
              </p:ext>
            </p:extLst>
          </p:nvPr>
        </p:nvGraphicFramePr>
        <p:xfrm>
          <a:off x="2251880" y="1285424"/>
          <a:ext cx="530898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2AF0EA24-5624-419C-B1DB-CB099526693B}"/>
              </a:ext>
            </a:extLst>
          </p:cNvPr>
          <p:cNvSpPr/>
          <p:nvPr/>
        </p:nvSpPr>
        <p:spPr>
          <a:xfrm>
            <a:off x="2232775" y="5636762"/>
            <a:ext cx="1538641" cy="488575"/>
          </a:xfrm>
          <a:prstGeom prst="rect">
            <a:avLst/>
          </a:prstGeom>
          <a:solidFill>
            <a:schemeClr val="accent1">
              <a:lumMod val="20000"/>
              <a:lumOff val="80000"/>
            </a:schemeClr>
          </a:solidFill>
          <a:ln w="12700">
            <a:solidFill>
              <a:schemeClr val="tx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ESC</a:t>
            </a:r>
            <a:r>
              <a:rPr lang="en-US" sz="1600" b="1" dirty="0">
                <a:solidFill>
                  <a:srgbClr val="000000"/>
                </a:solidFill>
              </a:rPr>
              <a:t> </a:t>
            </a:r>
          </a:p>
          <a:p>
            <a:pPr algn="ctr"/>
            <a:r>
              <a:rPr lang="en-US" sz="1200" b="1" dirty="0">
                <a:solidFill>
                  <a:srgbClr val="000000"/>
                </a:solidFill>
              </a:rPr>
              <a:t>Training &amp; Support</a:t>
            </a:r>
          </a:p>
        </p:txBody>
      </p:sp>
    </p:spTree>
    <p:extLst>
      <p:ext uri="{BB962C8B-B14F-4D97-AF65-F5344CB8AC3E}">
        <p14:creationId xmlns:p14="http://schemas.microsoft.com/office/powerpoint/2010/main" val="22326343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69F8971-E508-4964-9A5D-4A76339376E5}"/>
              </a:ext>
            </a:extLst>
          </p:cNvPr>
          <p:cNvSpPr/>
          <p:nvPr/>
        </p:nvSpPr>
        <p:spPr>
          <a:xfrm>
            <a:off x="7719237" y="1162052"/>
            <a:ext cx="4116230" cy="53710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13">
            <a:extLst>
              <a:ext uri="{FF2B5EF4-FFF2-40B4-BE49-F238E27FC236}">
                <a16:creationId xmlns:a16="http://schemas.microsoft.com/office/drawing/2014/main" id="{3B0CA719-BA0D-49B8-940C-47939F3453CC}"/>
              </a:ext>
            </a:extLst>
          </p:cNvPr>
          <p:cNvSpPr>
            <a:spLocks noGrp="1"/>
          </p:cNvSpPr>
          <p:nvPr>
            <p:ph type="body" sz="quarter" idx="13"/>
          </p:nvPr>
        </p:nvSpPr>
        <p:spPr>
          <a:xfrm>
            <a:off x="7719237" y="1270861"/>
            <a:ext cx="4092480" cy="5262285"/>
          </a:xfrm>
        </p:spPr>
        <p:txBody>
          <a:bodyPr>
            <a:normAutofit lnSpcReduction="10000"/>
          </a:bodyPr>
          <a:lstStyle/>
          <a:p>
            <a:pPr marL="0" indent="0">
              <a:buNone/>
            </a:pPr>
            <a:r>
              <a:rPr lang="en-US" b="1" dirty="0"/>
              <a:t>DATA COLLECTION </a:t>
            </a:r>
          </a:p>
          <a:p>
            <a:endParaRPr lang="en-US" sz="1000" b="1" dirty="0"/>
          </a:p>
          <a:p>
            <a:pPr marL="457200" lvl="1"/>
            <a:r>
              <a:rPr lang="en-US" sz="2000" dirty="0"/>
              <a:t>TSDS snapshot and collection </a:t>
            </a:r>
            <a:r>
              <a:rPr lang="en-US" sz="2000" b="1" dirty="0"/>
              <a:t>due dates will not change</a:t>
            </a:r>
            <a:r>
              <a:rPr lang="en-US" sz="2000" dirty="0"/>
              <a:t>.  Effective dating will be utilized to promote data to respective TSDS data submissions. </a:t>
            </a:r>
          </a:p>
          <a:p>
            <a:pPr marL="457200" lvl="1"/>
            <a:endParaRPr lang="en-US" sz="2000" dirty="0"/>
          </a:p>
          <a:p>
            <a:pPr marL="457200" lvl="1"/>
            <a:r>
              <a:rPr lang="en-US" sz="2000" b="1" dirty="0"/>
              <a:t>Negative attendance </a:t>
            </a:r>
            <a:r>
              <a:rPr lang="en-US" sz="2000" dirty="0"/>
              <a:t>will be collected at </a:t>
            </a:r>
            <a:r>
              <a:rPr lang="en-US" sz="2000" b="1" dirty="0"/>
              <a:t>granular</a:t>
            </a:r>
            <a:r>
              <a:rPr lang="en-US" sz="2000" dirty="0"/>
              <a:t> student and </a:t>
            </a:r>
            <a:r>
              <a:rPr lang="en-US" sz="2000" b="1" dirty="0"/>
              <a:t>cumulative</a:t>
            </a:r>
            <a:r>
              <a:rPr lang="en-US" sz="2000" dirty="0"/>
              <a:t> levels for initial rollout.</a:t>
            </a:r>
          </a:p>
          <a:p>
            <a:pPr marL="457200" lvl="1"/>
            <a:endParaRPr lang="en-US" sz="2000" dirty="0"/>
          </a:p>
          <a:p>
            <a:pPr marL="457200" lvl="1"/>
            <a:r>
              <a:rPr lang="en-US" sz="2000" dirty="0"/>
              <a:t>LEAs will </a:t>
            </a:r>
            <a:r>
              <a:rPr lang="en-US" sz="2000" b="1" dirty="0"/>
              <a:t>no longer need to load </a:t>
            </a:r>
            <a:r>
              <a:rPr lang="en-US" sz="2000" dirty="0"/>
              <a:t>student </a:t>
            </a:r>
            <a:r>
              <a:rPr lang="en-US" sz="2000" b="1" dirty="0"/>
              <a:t>enrollment</a:t>
            </a:r>
            <a:r>
              <a:rPr lang="en-US" sz="2000" dirty="0"/>
              <a:t> and </a:t>
            </a:r>
            <a:r>
              <a:rPr lang="en-US" sz="2000" b="1" dirty="0"/>
              <a:t>withdrawal</a:t>
            </a:r>
            <a:r>
              <a:rPr lang="en-US" sz="2000" dirty="0"/>
              <a:t> data into Unique ID application. This will be collected via ODS 3.x transactions. </a:t>
            </a:r>
          </a:p>
          <a:p>
            <a:pPr marL="457200" lvl="1"/>
            <a:endParaRPr lang="en-US" dirty="0"/>
          </a:p>
          <a:p>
            <a:pPr marL="457200" lvl="1"/>
            <a:endParaRPr lang="en-US" sz="2800" dirty="0"/>
          </a:p>
          <a:p>
            <a:endParaRPr lang="en-US" b="1" dirty="0"/>
          </a:p>
          <a:p>
            <a:endParaRPr lang="en-US" b="1" dirty="0"/>
          </a:p>
          <a:p>
            <a:endParaRPr lang="en-US" b="1" dirty="0"/>
          </a:p>
          <a:p>
            <a:pPr marL="0"/>
            <a:endParaRPr lang="en-US" b="1" dirty="0"/>
          </a:p>
        </p:txBody>
      </p:sp>
      <p:sp>
        <p:nvSpPr>
          <p:cNvPr id="13" name="Title 12">
            <a:extLst>
              <a:ext uri="{FF2B5EF4-FFF2-40B4-BE49-F238E27FC236}">
                <a16:creationId xmlns:a16="http://schemas.microsoft.com/office/drawing/2014/main" id="{1C0A32D1-28B2-4915-BD24-E361F93D634E}"/>
              </a:ext>
            </a:extLst>
          </p:cNvPr>
          <p:cNvSpPr>
            <a:spLocks noGrp="1"/>
          </p:cNvSpPr>
          <p:nvPr>
            <p:ph type="title"/>
          </p:nvPr>
        </p:nvSpPr>
        <p:spPr>
          <a:xfrm>
            <a:off x="2212290" y="199694"/>
            <a:ext cx="9515883" cy="542429"/>
          </a:xfrm>
        </p:spPr>
        <p:txBody>
          <a:bodyPr vert="horz" lIns="91440" tIns="45720" rIns="91440" bIns="45720" rtlCol="0" anchor="ctr">
            <a:normAutofit/>
          </a:bodyPr>
          <a:lstStyle/>
          <a:p>
            <a:r>
              <a:rPr lang="en-US" sz="3100" b="1" kern="1200" dirty="0">
                <a:latin typeface="+mn-lt"/>
                <a:ea typeface="+mj-ea"/>
                <a:cs typeface="+mj-cs"/>
              </a:rPr>
              <a:t>KEY TAKEAWAYS</a:t>
            </a:r>
          </a:p>
        </p:txBody>
      </p:sp>
      <p:graphicFrame>
        <p:nvGraphicFramePr>
          <p:cNvPr id="16" name="TextBox 5">
            <a:extLst>
              <a:ext uri="{FF2B5EF4-FFF2-40B4-BE49-F238E27FC236}">
                <a16:creationId xmlns:a16="http://schemas.microsoft.com/office/drawing/2014/main" id="{CCE7152F-A890-4108-A008-C0B645EA3716}"/>
              </a:ext>
            </a:extLst>
          </p:cNvPr>
          <p:cNvGraphicFramePr/>
          <p:nvPr>
            <p:extLst>
              <p:ext uri="{D42A27DB-BD31-4B8C-83A1-F6EECF244321}">
                <p14:modId xmlns:p14="http://schemas.microsoft.com/office/powerpoint/2010/main" val="1379442127"/>
              </p:ext>
            </p:extLst>
          </p:nvPr>
        </p:nvGraphicFramePr>
        <p:xfrm>
          <a:off x="2210127" y="1032817"/>
          <a:ext cx="5308980" cy="571689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988403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dirty="0">
                <a:cs typeface="Calibri"/>
              </a:rPr>
              <a:t>TRAINING FOR ESC CHAMPIONS</a:t>
            </a:r>
            <a:endParaRPr lang="en-US" dirty="0"/>
          </a:p>
        </p:txBody>
      </p:sp>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933838"/>
            <a:ext cx="9244683" cy="5924162"/>
          </a:xfrm>
        </p:spPr>
        <p:txBody>
          <a:bodyPr lIns="91440" tIns="45720" rIns="91440" bIns="45720" anchor="t"/>
          <a:lstStyle/>
          <a:p>
            <a:r>
              <a:rPr lang="en-US" sz="2400" b="1" dirty="0">
                <a:latin typeface="Calibri"/>
                <a:ea typeface="+mn-lt"/>
                <a:cs typeface="+mn-lt"/>
              </a:rPr>
              <a:t>New Certification Designations</a:t>
            </a:r>
          </a:p>
          <a:p>
            <a:pPr lvl="1">
              <a:buFont typeface="Arial" panose="05000000000000000000" pitchFamily="2" charset="2"/>
              <a:buChar char="•"/>
            </a:pPr>
            <a:r>
              <a:rPr lang="en-US" dirty="0">
                <a:latin typeface="Calibri"/>
                <a:ea typeface="+mn-lt"/>
                <a:cs typeface="+mn-lt"/>
              </a:rPr>
              <a:t>TSDS Technical 3.x Champion</a:t>
            </a:r>
          </a:p>
          <a:p>
            <a:pPr lvl="1">
              <a:buFont typeface="Arial" panose="05000000000000000000" pitchFamily="2" charset="2"/>
              <a:buChar char="•"/>
            </a:pPr>
            <a:r>
              <a:rPr lang="en-US" dirty="0">
                <a:latin typeface="Calibri"/>
                <a:ea typeface="+mn-lt"/>
                <a:cs typeface="+mn-lt"/>
              </a:rPr>
              <a:t>TSDS Data Hub Administration and Security Champion</a:t>
            </a:r>
          </a:p>
          <a:p>
            <a:r>
              <a:rPr lang="en-US" sz="2400" b="1" dirty="0">
                <a:latin typeface="Calibri"/>
                <a:ea typeface="+mn-lt"/>
                <a:cs typeface="+mn-lt"/>
              </a:rPr>
              <a:t>TSDS ODS 3.x Technical Training</a:t>
            </a:r>
            <a:endParaRPr lang="en-US" sz="2400" dirty="0"/>
          </a:p>
          <a:p>
            <a:pPr lvl="1">
              <a:buFont typeface="Arial" panose="05000000000000000000" pitchFamily="2" charset="2"/>
              <a:buChar char="•"/>
            </a:pPr>
            <a:r>
              <a:rPr lang="en-US" dirty="0">
                <a:latin typeface="Calibri"/>
                <a:ea typeface="+mn-lt"/>
                <a:cs typeface="+mn-lt"/>
              </a:rPr>
              <a:t>September 7, 2022 / September 13, 2022 / September 20, 2022</a:t>
            </a:r>
          </a:p>
          <a:p>
            <a:pPr lvl="1">
              <a:buFont typeface="Arial" panose="05000000000000000000" pitchFamily="2" charset="2"/>
              <a:buChar char="•"/>
            </a:pPr>
            <a:r>
              <a:rPr lang="en-US" dirty="0">
                <a:latin typeface="Calibri"/>
                <a:ea typeface="+mn-lt"/>
                <a:cs typeface="+mn-lt"/>
              </a:rPr>
              <a:t>Audience: currently certified Technical Champions</a:t>
            </a:r>
          </a:p>
          <a:p>
            <a:pPr lvl="2"/>
            <a:r>
              <a:rPr lang="en-US" dirty="0">
                <a:latin typeface="Calibri"/>
                <a:ea typeface="+mn-lt"/>
                <a:cs typeface="+mn-lt"/>
              </a:rPr>
              <a:t>Dates currently reserved for CETs will be used for new 3.x certification training. </a:t>
            </a:r>
            <a:r>
              <a:rPr lang="en-US" b="1" dirty="0">
                <a:latin typeface="Calibri"/>
                <a:ea typeface="+mn-lt"/>
                <a:cs typeface="+mn-lt"/>
              </a:rPr>
              <a:t>Hold those days.</a:t>
            </a:r>
            <a:endParaRPr lang="en-US" sz="600" b="1" dirty="0">
              <a:latin typeface="Calibri"/>
              <a:ea typeface="+mn-lt"/>
              <a:cs typeface="+mn-lt"/>
            </a:endParaRPr>
          </a:p>
          <a:p>
            <a:r>
              <a:rPr lang="en-US" sz="2400" b="1" dirty="0">
                <a:latin typeface="Calibri"/>
                <a:ea typeface="+mn-lt"/>
                <a:cs typeface="+mn-lt"/>
              </a:rPr>
              <a:t>TSDS ODS 3.x Program Area Training</a:t>
            </a:r>
          </a:p>
          <a:p>
            <a:pPr lvl="1"/>
            <a:r>
              <a:rPr lang="en-US" dirty="0">
                <a:latin typeface="Calibri"/>
                <a:ea typeface="+mn-lt"/>
                <a:cs typeface="+mn-lt"/>
              </a:rPr>
              <a:t>September 8, 2022 (</a:t>
            </a:r>
            <a:r>
              <a:rPr lang="en-US" b="1" dirty="0">
                <a:latin typeface="Calibri"/>
                <a:ea typeface="+mn-lt"/>
                <a:cs typeface="+mn-lt"/>
              </a:rPr>
              <a:t>new</a:t>
            </a:r>
            <a:r>
              <a:rPr lang="en-US" dirty="0">
                <a:latin typeface="Calibri"/>
                <a:ea typeface="+mn-lt"/>
                <a:cs typeface="+mn-lt"/>
              </a:rPr>
              <a:t>)</a:t>
            </a:r>
          </a:p>
          <a:p>
            <a:pPr lvl="1"/>
            <a:r>
              <a:rPr lang="en-US" dirty="0">
                <a:latin typeface="Calibri"/>
                <a:ea typeface="+mn-lt"/>
                <a:cs typeface="+mn-lt"/>
              </a:rPr>
              <a:t>Audience: currently certified in any Program Area</a:t>
            </a:r>
          </a:p>
          <a:p>
            <a:pPr lvl="2"/>
            <a:r>
              <a:rPr lang="en-US" dirty="0">
                <a:latin typeface="Calibri"/>
                <a:ea typeface="+mn-lt"/>
                <a:cs typeface="+mn-lt"/>
              </a:rPr>
              <a:t>Child Find, Class Roster, CSW, ECDS, PEIMS, RFT, SELA, or SPPI-14</a:t>
            </a:r>
            <a:endParaRPr lang="en-US" sz="600" dirty="0">
              <a:latin typeface="Calibri"/>
              <a:ea typeface="+mn-lt"/>
              <a:cs typeface="+mn-lt"/>
            </a:endParaRPr>
          </a:p>
          <a:p>
            <a:r>
              <a:rPr lang="en-US" sz="2400" b="1" dirty="0">
                <a:latin typeface="Calibri"/>
                <a:ea typeface="+mn-lt"/>
                <a:cs typeface="+mn-lt"/>
              </a:rPr>
              <a:t>New User Training </a:t>
            </a:r>
          </a:p>
          <a:p>
            <a:pPr lvl="1"/>
            <a:r>
              <a:rPr lang="en-US" dirty="0">
                <a:latin typeface="Calibri"/>
                <a:ea typeface="+mn-lt"/>
                <a:cs typeface="+mn-lt"/>
              </a:rPr>
              <a:t>October 3-14, 2022 </a:t>
            </a:r>
          </a:p>
          <a:p>
            <a:pPr lvl="1"/>
            <a:r>
              <a:rPr lang="en-US" dirty="0">
                <a:latin typeface="Calibri"/>
                <a:ea typeface="+mn-lt"/>
                <a:cs typeface="+mn-lt"/>
              </a:rPr>
              <a:t>Focused on submitting data in </a:t>
            </a:r>
            <a:r>
              <a:rPr lang="en-US" b="1" dirty="0">
                <a:latin typeface="Calibri"/>
                <a:ea typeface="+mn-lt"/>
                <a:cs typeface="+mn-lt"/>
              </a:rPr>
              <a:t>new</a:t>
            </a:r>
            <a:r>
              <a:rPr lang="en-US" dirty="0">
                <a:latin typeface="Calibri"/>
                <a:ea typeface="+mn-lt"/>
                <a:cs typeface="+mn-lt"/>
              </a:rPr>
              <a:t> ODS 3.x format only. </a:t>
            </a:r>
          </a:p>
        </p:txBody>
      </p:sp>
    </p:spTree>
    <p:extLst>
      <p:ext uri="{BB962C8B-B14F-4D97-AF65-F5344CB8AC3E}">
        <p14:creationId xmlns:p14="http://schemas.microsoft.com/office/powerpoint/2010/main" val="274938760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253331"/>
            <a:ext cx="9762477" cy="4351338"/>
          </a:xfrm>
        </p:spPr>
        <p:txBody>
          <a:bodyPr lIns="91440" tIns="45720" rIns="91440" bIns="45720" anchor="t"/>
          <a:lstStyle/>
          <a:p>
            <a:r>
              <a:rPr lang="en-US" dirty="0">
                <a:latin typeface="Calibri"/>
                <a:ea typeface="+mn-lt"/>
                <a:cs typeface="+mn-lt"/>
              </a:rPr>
              <a:t>Purpose:</a:t>
            </a:r>
          </a:p>
          <a:p>
            <a:pPr lvl="1"/>
            <a:r>
              <a:rPr lang="en-US" sz="2000" dirty="0">
                <a:latin typeface="Calibri"/>
                <a:ea typeface="+mn-lt"/>
                <a:cs typeface="+mn-lt"/>
              </a:rPr>
              <a:t>Review one or more of the ten training course decks for the TSDS ODS 3.X project and provide feedback.</a:t>
            </a:r>
          </a:p>
          <a:p>
            <a:pPr lvl="1"/>
            <a:r>
              <a:rPr lang="en-US" sz="2000" dirty="0">
                <a:latin typeface="Calibri"/>
                <a:ea typeface="+mn-lt"/>
                <a:cs typeface="+mn-lt"/>
              </a:rPr>
              <a:t>Ensure that the content provided is relevant, effective, and at the right level of detail.</a:t>
            </a:r>
          </a:p>
          <a:p>
            <a:pPr lvl="1"/>
            <a:r>
              <a:rPr lang="en-US" sz="2000" dirty="0">
                <a:latin typeface="Calibri"/>
                <a:ea typeface="+mn-lt"/>
                <a:cs typeface="+mn-lt"/>
              </a:rPr>
              <a:t>Identify any gaps in training materials that need to be addressed to ensure LEA and/or ESC staff have a complete understanding of the new TSDS ODS 3.X system.</a:t>
            </a:r>
          </a:p>
          <a:p>
            <a:pPr lvl="1"/>
            <a:r>
              <a:rPr lang="en-US" sz="2000" dirty="0">
                <a:latin typeface="Calibri"/>
                <a:ea typeface="+mn-lt"/>
                <a:cs typeface="+mn-lt"/>
              </a:rPr>
              <a:t>Give TTAG members an opportunity to collaborate and provide input on the proposed changes shared by other TTAG members.</a:t>
            </a:r>
          </a:p>
          <a:p>
            <a:pPr lvl="1"/>
            <a:endParaRPr lang="en-US" sz="2000" dirty="0">
              <a:latin typeface="Calibri"/>
              <a:ea typeface="+mn-lt"/>
              <a:cs typeface="+mn-lt"/>
            </a:endParaRPr>
          </a:p>
          <a:p>
            <a:r>
              <a:rPr lang="en-US" dirty="0">
                <a:latin typeface="Calibri"/>
                <a:ea typeface="+mn-lt"/>
                <a:cs typeface="+mn-lt"/>
              </a:rPr>
              <a:t>Time commitment: </a:t>
            </a:r>
          </a:p>
          <a:p>
            <a:pPr lvl="1"/>
            <a:r>
              <a:rPr lang="en-US" sz="2000" dirty="0">
                <a:latin typeface="Calibri"/>
                <a:ea typeface="+mn-lt"/>
                <a:cs typeface="+mn-lt"/>
              </a:rPr>
              <a:t>Minimum of 4 hours per month (April – September 2022) per training course deck reviewed</a:t>
            </a:r>
          </a:p>
        </p:txBody>
      </p:sp>
      <p:sp>
        <p:nvSpPr>
          <p:cNvPr id="5" name="Title 4">
            <a:extLst>
              <a:ext uri="{FF2B5EF4-FFF2-40B4-BE49-F238E27FC236}">
                <a16:creationId xmlns:a16="http://schemas.microsoft.com/office/drawing/2014/main" id="{7DCAF1F7-DD50-41BF-B315-5DA4537346B2}"/>
              </a:ext>
            </a:extLst>
          </p:cNvPr>
          <p:cNvSpPr>
            <a:spLocks noGrp="1"/>
          </p:cNvSpPr>
          <p:nvPr>
            <p:ph type="title"/>
          </p:nvPr>
        </p:nvSpPr>
        <p:spPr/>
        <p:txBody>
          <a:bodyPr>
            <a:noAutofit/>
          </a:bodyPr>
          <a:lstStyle/>
          <a:p>
            <a:r>
              <a:rPr lang="en-US" dirty="0">
                <a:cs typeface="Calibri"/>
              </a:rPr>
              <a:t>TSDS TRAINING ADVISORY GROUP (TTAG)</a:t>
            </a:r>
            <a:endParaRPr lang="en-US" dirty="0"/>
          </a:p>
        </p:txBody>
      </p:sp>
    </p:spTree>
    <p:extLst>
      <p:ext uri="{BB962C8B-B14F-4D97-AF65-F5344CB8AC3E}">
        <p14:creationId xmlns:p14="http://schemas.microsoft.com/office/powerpoint/2010/main" val="3357279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C4E97D-6501-43BE-A361-1CB15552BBCC}"/>
              </a:ext>
            </a:extLst>
          </p:cNvPr>
          <p:cNvSpPr>
            <a:spLocks noGrp="1"/>
          </p:cNvSpPr>
          <p:nvPr>
            <p:ph type="title"/>
          </p:nvPr>
        </p:nvSpPr>
        <p:spPr>
          <a:xfrm>
            <a:off x="2320119" y="153230"/>
            <a:ext cx="9513918" cy="751350"/>
          </a:xfrm>
        </p:spPr>
        <p:txBody>
          <a:bodyPr anchor="ctr">
            <a:normAutofit/>
          </a:bodyPr>
          <a:lstStyle/>
          <a:p>
            <a:r>
              <a:rPr lang="en-US" dirty="0"/>
              <a:t>VOLUNTEERS NEEDED</a:t>
            </a:r>
          </a:p>
        </p:txBody>
      </p:sp>
      <p:pic>
        <p:nvPicPr>
          <p:cNvPr id="5" name="Content Placeholder 4" descr="Classroom of students raising their hands in front of a teacher">
            <a:extLst>
              <a:ext uri="{FF2B5EF4-FFF2-40B4-BE49-F238E27FC236}">
                <a16:creationId xmlns:a16="http://schemas.microsoft.com/office/drawing/2014/main" id="{8C479147-FAE4-4682-ABA3-EB195967B93A}"/>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9302" r="10957" b="3"/>
          <a:stretch/>
        </p:blipFill>
        <p:spPr>
          <a:xfrm>
            <a:off x="2320118" y="1495651"/>
            <a:ext cx="4462819" cy="4351338"/>
          </a:xfrm>
          <a:noFill/>
        </p:spPr>
      </p:pic>
      <p:sp>
        <p:nvSpPr>
          <p:cNvPr id="10" name="Content Placeholder 3">
            <a:extLst>
              <a:ext uri="{FF2B5EF4-FFF2-40B4-BE49-F238E27FC236}">
                <a16:creationId xmlns:a16="http://schemas.microsoft.com/office/drawing/2014/main" id="{EB2B340D-8B9F-C293-AE70-52B6704424C3}"/>
              </a:ext>
            </a:extLst>
          </p:cNvPr>
          <p:cNvSpPr>
            <a:spLocks noGrp="1"/>
          </p:cNvSpPr>
          <p:nvPr>
            <p:ph idx="13"/>
          </p:nvPr>
        </p:nvSpPr>
        <p:spPr>
          <a:xfrm>
            <a:off x="7077078" y="1478675"/>
            <a:ext cx="4462819" cy="4351338"/>
          </a:xfrm>
        </p:spPr>
        <p:txBody>
          <a:bodyPr lIns="91440" tIns="45720" rIns="91440" bIns="45720" anchor="t"/>
          <a:lstStyle/>
          <a:p>
            <a:pPr marL="0" indent="0">
              <a:buNone/>
            </a:pPr>
            <a:r>
              <a:rPr lang="en-US" b="1" dirty="0"/>
              <a:t>Text:</a:t>
            </a:r>
            <a:endParaRPr lang="en-US" dirty="0"/>
          </a:p>
          <a:p>
            <a:pPr marL="0" indent="0">
              <a:buNone/>
            </a:pPr>
            <a:r>
              <a:rPr lang="en-US" sz="2400" dirty="0"/>
              <a:t>@TTAG to  (833)756-0874 </a:t>
            </a:r>
            <a:endParaRPr lang="en-US" sz="2400" dirty="0">
              <a:cs typeface="Calibri"/>
            </a:endParaRPr>
          </a:p>
          <a:p>
            <a:endParaRPr lang="en-US" sz="2400" dirty="0"/>
          </a:p>
          <a:p>
            <a:pPr marL="0" indent="0">
              <a:buNone/>
            </a:pPr>
            <a:r>
              <a:rPr lang="en-US" b="1" dirty="0"/>
              <a:t>Email:</a:t>
            </a:r>
          </a:p>
          <a:p>
            <a:pPr marL="0" indent="0">
              <a:buNone/>
            </a:pPr>
            <a:r>
              <a:rPr lang="en-US" sz="2400" dirty="0">
                <a:hlinkClick r:id="rId3"/>
              </a:rPr>
              <a:t>TSDS_Training@TEA.Texas.gov</a:t>
            </a:r>
            <a:endParaRPr lang="en-US" sz="2400" dirty="0"/>
          </a:p>
          <a:p>
            <a:pPr marL="0" indent="0">
              <a:buNone/>
            </a:pPr>
            <a:endParaRPr lang="en-US" dirty="0">
              <a:cs typeface="Calibri"/>
            </a:endParaRPr>
          </a:p>
        </p:txBody>
      </p:sp>
    </p:spTree>
    <p:extLst>
      <p:ext uri="{BB962C8B-B14F-4D97-AF65-F5344CB8AC3E}">
        <p14:creationId xmlns:p14="http://schemas.microsoft.com/office/powerpoint/2010/main" val="3701020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1B76937-EAE5-4352-B4BD-A068735DCECF}"/>
              </a:ext>
            </a:extLst>
          </p:cNvPr>
          <p:cNvSpPr>
            <a:spLocks noGrp="1"/>
          </p:cNvSpPr>
          <p:nvPr>
            <p:ph type="sldNum" sz="quarter" idx="12"/>
          </p:nvPr>
        </p:nvSpPr>
        <p:spPr/>
        <p:txBody>
          <a:bodyPr/>
          <a:lstStyle/>
          <a:p>
            <a:fld id="{0088AB57-2DBE-44A3-AE96-942C49E954BF}" type="slidenum">
              <a:rPr lang="en-US" smtClean="0"/>
              <a:t>26</a:t>
            </a:fld>
            <a:endParaRPr lang="en-US" dirty="0"/>
          </a:p>
        </p:txBody>
      </p:sp>
      <p:graphicFrame>
        <p:nvGraphicFramePr>
          <p:cNvPr id="12" name="Table 12">
            <a:extLst>
              <a:ext uri="{FF2B5EF4-FFF2-40B4-BE49-F238E27FC236}">
                <a16:creationId xmlns:a16="http://schemas.microsoft.com/office/drawing/2014/main" id="{43E7B8A4-C756-4F7F-A217-49FF74749B6A}"/>
              </a:ext>
            </a:extLst>
          </p:cNvPr>
          <p:cNvGraphicFramePr>
            <a:graphicFrameLocks noGrp="1"/>
          </p:cNvGraphicFramePr>
          <p:nvPr>
            <p:ph idx="4294967295"/>
            <p:extLst>
              <p:ext uri="{D42A27DB-BD31-4B8C-83A1-F6EECF244321}">
                <p14:modId xmlns:p14="http://schemas.microsoft.com/office/powerpoint/2010/main" val="2696433389"/>
              </p:ext>
            </p:extLst>
          </p:nvPr>
        </p:nvGraphicFramePr>
        <p:xfrm>
          <a:off x="2071171" y="2354973"/>
          <a:ext cx="9657003" cy="3657600"/>
        </p:xfrm>
        <a:graphic>
          <a:graphicData uri="http://schemas.openxmlformats.org/drawingml/2006/table">
            <a:tbl>
              <a:tblPr firstRow="1" bandRow="1">
                <a:tableStyleId>{5C22544A-7EE6-4342-B048-85BDC9FD1C3A}</a:tableStyleId>
              </a:tblPr>
              <a:tblGrid>
                <a:gridCol w="1776170">
                  <a:extLst>
                    <a:ext uri="{9D8B030D-6E8A-4147-A177-3AD203B41FA5}">
                      <a16:colId xmlns:a16="http://schemas.microsoft.com/office/drawing/2014/main" val="2319828551"/>
                    </a:ext>
                  </a:extLst>
                </a:gridCol>
                <a:gridCol w="1090636">
                  <a:extLst>
                    <a:ext uri="{9D8B030D-6E8A-4147-A177-3AD203B41FA5}">
                      <a16:colId xmlns:a16="http://schemas.microsoft.com/office/drawing/2014/main" val="2223042840"/>
                    </a:ext>
                  </a:extLst>
                </a:gridCol>
                <a:gridCol w="6790197">
                  <a:extLst>
                    <a:ext uri="{9D8B030D-6E8A-4147-A177-3AD203B41FA5}">
                      <a16:colId xmlns:a16="http://schemas.microsoft.com/office/drawing/2014/main" val="2039445774"/>
                    </a:ext>
                  </a:extLst>
                </a:gridCol>
              </a:tblGrid>
              <a:tr h="914400">
                <a:tc>
                  <a:txBody>
                    <a:bodyPr/>
                    <a:lstStyle/>
                    <a:p>
                      <a:pPr marL="0" algn="ctr" defTabSz="914400" rtl="0" eaLnBrk="1" latinLnBrk="0" hangingPunct="1"/>
                      <a:r>
                        <a:rPr lang="en-US" sz="1800" b="1" kern="1200" dirty="0">
                          <a:solidFill>
                            <a:schemeClr val="accent2"/>
                          </a:solidFill>
                          <a:latin typeface="+mn-lt"/>
                          <a:ea typeface="+mn-ea"/>
                          <a:cs typeface="+mn-cs"/>
                        </a:rPr>
                        <a:t>Parallel LEAs</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dirty="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dirty="0">
                          <a:solidFill>
                            <a:schemeClr val="tx1"/>
                          </a:solidFill>
                          <a:latin typeface="+mn-lt"/>
                          <a:ea typeface="+mn-ea"/>
                          <a:cs typeface="+mn-cs"/>
                        </a:rPr>
                        <a:t>TEA will coordinate with vendors to ensure at least one LEA for each ESC region.</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18260762"/>
                  </a:ext>
                </a:extLst>
              </a:tr>
              <a:tr h="914400">
                <a:tc>
                  <a:txBody>
                    <a:bodyPr/>
                    <a:lstStyle/>
                    <a:p>
                      <a:pPr marL="0" algn="ctr" defTabSz="914400" rtl="0" eaLnBrk="1" latinLnBrk="0" hangingPunct="1"/>
                      <a:r>
                        <a:rPr lang="en-US" sz="1800" b="1" kern="1200" dirty="0">
                          <a:solidFill>
                            <a:schemeClr val="accent2"/>
                          </a:solidFill>
                          <a:latin typeface="+mn-lt"/>
                          <a:ea typeface="+mn-ea"/>
                          <a:cs typeface="+mn-cs"/>
                        </a:rPr>
                        <a:t>Parallel Portal</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dirty="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dirty="0">
                          <a:solidFill>
                            <a:schemeClr val="tx1"/>
                          </a:solidFill>
                          <a:latin typeface="+mn-lt"/>
                          <a:ea typeface="+mn-ea"/>
                          <a:cs typeface="+mn-cs"/>
                        </a:rPr>
                        <a:t>There will be a dedicated TSDS ODS 3.x parallel portal for participating LEAs. </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2593652420"/>
                  </a:ext>
                </a:extLst>
              </a:tr>
              <a:tr h="914400">
                <a:tc>
                  <a:txBody>
                    <a:bodyPr/>
                    <a:lstStyle/>
                    <a:p>
                      <a:pPr marL="0" algn="ctr" rtl="0" eaLnBrk="1" latinLnBrk="0" hangingPunct="1"/>
                      <a:r>
                        <a:rPr lang="en-US" sz="1800" b="1" kern="1200" dirty="0">
                          <a:solidFill>
                            <a:schemeClr val="accent2"/>
                          </a:solidFill>
                          <a:latin typeface="+mn-lt"/>
                          <a:ea typeface="+mn-ea"/>
                          <a:cs typeface="+mn-cs"/>
                        </a:rPr>
                        <a:t>TEAL Access</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dirty="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dirty="0">
                          <a:solidFill>
                            <a:schemeClr val="tx1"/>
                          </a:solidFill>
                          <a:latin typeface="+mn-lt"/>
                          <a:ea typeface="+mn-ea"/>
                          <a:cs typeface="+mn-cs"/>
                        </a:rPr>
                        <a:t>TEA will use TEAL for the parallel portal and Data Hub application access.</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545369768"/>
                  </a:ext>
                </a:extLst>
              </a:tr>
              <a:tr h="914400">
                <a:tc>
                  <a:txBody>
                    <a:bodyPr/>
                    <a:lstStyle/>
                    <a:p>
                      <a:pPr marL="0" algn="ctr" defTabSz="914400" rtl="0" eaLnBrk="1" latinLnBrk="0" hangingPunct="1"/>
                      <a:r>
                        <a:rPr lang="en-US" sz="1800" b="1" kern="1200" dirty="0">
                          <a:solidFill>
                            <a:schemeClr val="accent2"/>
                          </a:solidFill>
                          <a:latin typeface="+mn-lt"/>
                          <a:ea typeface="+mn-ea"/>
                          <a:cs typeface="+mn-cs"/>
                        </a:rPr>
                        <a:t>TIMS Support</a:t>
                      </a: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endParaRPr lang="en-US" sz="1600" b="0" kern="1200" dirty="0">
                        <a:solidFill>
                          <a:schemeClr val="tx1"/>
                        </a:solidFill>
                        <a:latin typeface="+mn-lt"/>
                        <a:ea typeface="+mn-ea"/>
                        <a:cs typeface="+mn-cs"/>
                      </a:endParaRPr>
                    </a:p>
                  </a:txBody>
                  <a:tcPr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indent="0" algn="l" defTabSz="914400" rtl="0" eaLnBrk="1" latinLnBrk="0" hangingPunct="1">
                        <a:spcAft>
                          <a:spcPts val="600"/>
                        </a:spcAft>
                        <a:buFont typeface="Arial" panose="020B0604020202020204" pitchFamily="34" charset="0"/>
                        <a:buNone/>
                      </a:pPr>
                      <a:r>
                        <a:rPr lang="en-US" sz="1600" b="0" kern="1200" dirty="0">
                          <a:solidFill>
                            <a:schemeClr val="tx1"/>
                          </a:solidFill>
                          <a:latin typeface="+mn-lt"/>
                          <a:ea typeface="+mn-ea"/>
                          <a:cs typeface="+mn-cs"/>
                        </a:rPr>
                        <a:t>LEAs will submit any issues and data discrepancies through the TIMS system.</a:t>
                      </a:r>
                    </a:p>
                  </a:txBody>
                  <a:tcPr anchor="ctr">
                    <a:lnR w="1270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1138314348"/>
                  </a:ext>
                </a:extLst>
              </a:tr>
            </a:tbl>
          </a:graphicData>
        </a:graphic>
      </p:graphicFrame>
      <p:graphicFrame>
        <p:nvGraphicFramePr>
          <p:cNvPr id="5" name="Object 4" hidden="1">
            <a:extLst>
              <a:ext uri="{FF2B5EF4-FFF2-40B4-BE49-F238E27FC236}">
                <a16:creationId xmlns:a16="http://schemas.microsoft.com/office/drawing/2014/main" id="{405A8EA9-6850-43B3-B1DF-4B7E146BD37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5" imgW="425" imgH="424" progId="TCLayout.ActiveDocument.1">
                  <p:embed/>
                </p:oleObj>
              </mc:Choice>
              <mc:Fallback>
                <p:oleObj name="think-cell Slide" r:id="rId5" imgW="425" imgH="424" progId="TCLayout.ActiveDocument.1">
                  <p:embed/>
                  <p:pic>
                    <p:nvPicPr>
                      <p:cNvPr id="5" name="Object 4" hidden="1">
                        <a:extLst>
                          <a:ext uri="{FF2B5EF4-FFF2-40B4-BE49-F238E27FC236}">
                            <a16:creationId xmlns:a16="http://schemas.microsoft.com/office/drawing/2014/main" id="{405A8EA9-6850-43B3-B1DF-4B7E146BD3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1" name="Graphic 10">
            <a:extLst>
              <a:ext uri="{FF2B5EF4-FFF2-40B4-BE49-F238E27FC236}">
                <a16:creationId xmlns:a16="http://schemas.microsoft.com/office/drawing/2014/main" id="{4D4662B2-A2C5-4B11-A600-264ADE9AAD5E}"/>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4004727" y="4480070"/>
            <a:ext cx="651176" cy="321002"/>
          </a:xfrm>
          <a:prstGeom prst="rect">
            <a:avLst/>
          </a:prstGeom>
        </p:spPr>
      </p:pic>
      <p:pic>
        <p:nvPicPr>
          <p:cNvPr id="24" name="Graphic 23">
            <a:extLst>
              <a:ext uri="{FF2B5EF4-FFF2-40B4-BE49-F238E27FC236}">
                <a16:creationId xmlns:a16="http://schemas.microsoft.com/office/drawing/2014/main" id="{E410A82F-6263-4AB5-A06A-7707B084067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983381" y="2576032"/>
            <a:ext cx="651176" cy="551990"/>
          </a:xfrm>
          <a:prstGeom prst="rect">
            <a:avLst/>
          </a:prstGeom>
        </p:spPr>
      </p:pic>
      <p:pic>
        <p:nvPicPr>
          <p:cNvPr id="10" name="Graphic 9">
            <a:extLst>
              <a:ext uri="{FF2B5EF4-FFF2-40B4-BE49-F238E27FC236}">
                <a16:creationId xmlns:a16="http://schemas.microsoft.com/office/drawing/2014/main" id="{6B677387-5BB9-4DCC-AEE6-F2DEC950A68B}"/>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059812" y="5212653"/>
            <a:ext cx="596091" cy="596091"/>
          </a:xfrm>
          <a:prstGeom prst="rect">
            <a:avLst/>
          </a:prstGeom>
        </p:spPr>
      </p:pic>
      <p:sp>
        <p:nvSpPr>
          <p:cNvPr id="6" name="Title 5">
            <a:extLst>
              <a:ext uri="{FF2B5EF4-FFF2-40B4-BE49-F238E27FC236}">
                <a16:creationId xmlns:a16="http://schemas.microsoft.com/office/drawing/2014/main" id="{11375B44-5CBA-44A8-BB61-EBD1403DF5D2}"/>
              </a:ext>
            </a:extLst>
          </p:cNvPr>
          <p:cNvSpPr>
            <a:spLocks noGrp="1"/>
          </p:cNvSpPr>
          <p:nvPr>
            <p:ph type="title"/>
          </p:nvPr>
        </p:nvSpPr>
        <p:spPr/>
        <p:txBody>
          <a:bodyPr>
            <a:noAutofit/>
          </a:bodyPr>
          <a:lstStyle/>
          <a:p>
            <a:r>
              <a:rPr lang="en-US" dirty="0">
                <a:cs typeface="Calibri"/>
              </a:rPr>
              <a:t>SUPPORTING PARALLEL SUBMISSION</a:t>
            </a:r>
            <a:endParaRPr lang="en-US" dirty="0"/>
          </a:p>
        </p:txBody>
      </p:sp>
      <p:pic>
        <p:nvPicPr>
          <p:cNvPr id="16" name="Graphic 10">
            <a:extLst>
              <a:ext uri="{FF2B5EF4-FFF2-40B4-BE49-F238E27FC236}">
                <a16:creationId xmlns:a16="http://schemas.microsoft.com/office/drawing/2014/main" id="{1E2A1F65-6928-4501-B2D7-ACAE663EAED0}"/>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3995341" y="3482021"/>
            <a:ext cx="651176" cy="391810"/>
          </a:xfrm>
          <a:prstGeom prst="rect">
            <a:avLst/>
          </a:prstGeom>
        </p:spPr>
      </p:pic>
      <p:sp>
        <p:nvSpPr>
          <p:cNvPr id="19" name="Content Placeholder 3">
            <a:extLst>
              <a:ext uri="{FF2B5EF4-FFF2-40B4-BE49-F238E27FC236}">
                <a16:creationId xmlns:a16="http://schemas.microsoft.com/office/drawing/2014/main" id="{856DF57D-0F25-4BA8-9C0C-24D9F7408C0B}"/>
              </a:ext>
            </a:extLst>
          </p:cNvPr>
          <p:cNvSpPr txBox="1">
            <a:spLocks/>
          </p:cNvSpPr>
          <p:nvPr/>
        </p:nvSpPr>
        <p:spPr>
          <a:xfrm>
            <a:off x="2201841" y="1253331"/>
            <a:ext cx="9024347" cy="1232382"/>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Technical Support: </a:t>
            </a:r>
            <a:r>
              <a:rPr lang="en-US" dirty="0"/>
              <a:t>ESCs will be expected to support any LEA(s) participating in the 2022-2023 parallel submission.</a:t>
            </a:r>
          </a:p>
        </p:txBody>
      </p:sp>
    </p:spTree>
    <p:extLst>
      <p:ext uri="{BB962C8B-B14F-4D97-AF65-F5344CB8AC3E}">
        <p14:creationId xmlns:p14="http://schemas.microsoft.com/office/powerpoint/2010/main" val="31268496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8"/>
            <a:ext cx="9696376" cy="5090680"/>
          </a:xfrm>
        </p:spPr>
        <p:txBody>
          <a:bodyPr lIns="91440" tIns="45720" rIns="91440" bIns="45720" anchor="t"/>
          <a:lstStyle/>
          <a:p>
            <a:pPr marL="0" indent="0">
              <a:buNone/>
            </a:pPr>
            <a:r>
              <a:rPr lang="en-US" b="1" dirty="0"/>
              <a:t>How can interested LEAs participate in the parallel submission</a:t>
            </a:r>
            <a:r>
              <a:rPr lang="en-US" sz="2800" b="1" dirty="0"/>
              <a:t>? </a:t>
            </a:r>
            <a:br>
              <a:rPr lang="en-US" sz="2800" b="1" dirty="0"/>
            </a:br>
            <a:endParaRPr lang="en-US" b="1" dirty="0">
              <a:cs typeface="Calibri" panose="020F0502020204030204"/>
            </a:endParaRPr>
          </a:p>
          <a:p>
            <a:pPr marL="457200" lvl="1" indent="0">
              <a:buNone/>
            </a:pPr>
            <a:r>
              <a:rPr lang="en-US" dirty="0">
                <a:ea typeface="+mn-lt"/>
                <a:cs typeface="+mn-lt"/>
              </a:rPr>
              <a:t>TEA is encouraging LEAs interested in participating in the parallel submission to contact their source system vendor(s) directly to ensure their product is ready and available for ODS 3.x API transactions. </a:t>
            </a:r>
          </a:p>
          <a:p>
            <a:pPr marL="457200" lvl="1" indent="0">
              <a:buNone/>
            </a:pPr>
            <a:endParaRPr lang="en-US" dirty="0">
              <a:ea typeface="+mn-lt"/>
              <a:cs typeface="+mn-lt"/>
            </a:endParaRPr>
          </a:p>
          <a:p>
            <a:pPr marL="457200" lvl="1" indent="0">
              <a:buNone/>
            </a:pPr>
            <a:r>
              <a:rPr lang="en-US" dirty="0">
                <a:ea typeface="+mn-lt"/>
                <a:cs typeface="+mn-lt"/>
              </a:rPr>
              <a:t>TEA will be coordinating with source system vendors and ESCs prior to the start of the 2022-2023 parallel submission to ensure proper diversity in terms of LEA enrollment size and regional location.</a:t>
            </a:r>
          </a:p>
          <a:p>
            <a:pPr marL="457200" lvl="1" indent="0">
              <a:buNone/>
            </a:pPr>
            <a:endParaRPr lang="en-US" dirty="0">
              <a:ea typeface="+mn-lt"/>
              <a:cs typeface="+mn-lt"/>
            </a:endParaRPr>
          </a:p>
          <a:p>
            <a:pPr marL="457200" lvl="1" indent="0">
              <a:buNone/>
            </a:pPr>
            <a:r>
              <a:rPr lang="en-US" dirty="0">
                <a:ea typeface="+mn-lt"/>
                <a:cs typeface="+mn-lt"/>
              </a:rPr>
              <a:t>For any assistance with vendor coordination, LEAs can email </a:t>
            </a:r>
            <a:r>
              <a:rPr lang="en-US" dirty="0">
                <a:ea typeface="+mn-lt"/>
                <a:cs typeface="+mn-lt"/>
                <a:hlinkClick r:id="rId3"/>
              </a:rPr>
              <a:t>TSDSDeployment@tea.</a:t>
            </a:r>
            <a:r>
              <a:rPr lang="en-US" dirty="0">
                <a:ea typeface="+mn-lt"/>
                <a:cs typeface="+mn-lt"/>
                <a:hlinkClick r:id="rId4"/>
              </a:rPr>
              <a:t>texas</a:t>
            </a:r>
            <a:r>
              <a:rPr lang="en-US" dirty="0">
                <a:ea typeface="+mn-lt"/>
                <a:cs typeface="+mn-lt"/>
                <a:hlinkClick r:id="rId3"/>
              </a:rPr>
              <a:t>.gov</a:t>
            </a:r>
            <a:r>
              <a:rPr lang="en-US" dirty="0">
                <a:ea typeface="+mn-lt"/>
                <a:cs typeface="+mn-lt"/>
              </a:rPr>
              <a:t> with their vendor and product information. </a:t>
            </a:r>
          </a:p>
          <a:p>
            <a:pPr marL="457200" lvl="1" indent="0">
              <a:buNone/>
            </a:pP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384423413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485196" cy="4568265"/>
          </a:xfrm>
        </p:spPr>
        <p:txBody>
          <a:bodyPr lIns="91440" tIns="45720" rIns="91440" bIns="45720" anchor="t"/>
          <a:lstStyle/>
          <a:p>
            <a:pPr marL="0" indent="0">
              <a:buNone/>
            </a:pPr>
            <a:r>
              <a:rPr lang="en-US" b="1" dirty="0"/>
              <a:t>How will ESC Champions be informed of LEAs participating in the parallel submission year</a:t>
            </a:r>
            <a:r>
              <a:rPr lang="en-US" sz="2800" b="1" dirty="0"/>
              <a:t>? </a:t>
            </a:r>
            <a:br>
              <a:rPr lang="en-US" sz="2800" b="1" dirty="0"/>
            </a:br>
            <a:endParaRPr lang="en-US" b="1" dirty="0">
              <a:cs typeface="Calibri" panose="020F0502020204030204"/>
            </a:endParaRPr>
          </a:p>
          <a:p>
            <a:pPr marL="457200" lvl="1" indent="0">
              <a:buNone/>
            </a:pPr>
            <a:r>
              <a:rPr lang="en-US" dirty="0">
                <a:ea typeface="+mn-lt"/>
                <a:cs typeface="+mn-lt"/>
              </a:rPr>
              <a:t>TEA will be directly communicating and coordinating with ESC Champions to inform them of any LEA(s) committed to participating in the 2022-2023 parallel submission. </a:t>
            </a:r>
          </a:p>
          <a:p>
            <a:pPr marL="457200" lvl="1" indent="0">
              <a:buNone/>
            </a:pPr>
            <a:endParaRPr lang="en-US" dirty="0">
              <a:ea typeface="+mn-lt"/>
              <a:cs typeface="+mn-lt"/>
            </a:endParaRPr>
          </a:p>
          <a:p>
            <a:pPr marL="457200" lvl="1" indent="0">
              <a:buNone/>
            </a:pPr>
            <a:r>
              <a:rPr lang="en-US" dirty="0">
                <a:ea typeface="+mn-lt"/>
                <a:cs typeface="+mn-lt"/>
              </a:rPr>
              <a:t>ESCs will be provided training, guidance, and materials by TEA to conduct their own trainings with participating LEAs. </a:t>
            </a:r>
          </a:p>
          <a:p>
            <a:pPr marL="457200" lvl="1" indent="0">
              <a:buNone/>
            </a:pPr>
            <a:endParaRPr lang="en-US" dirty="0">
              <a:ea typeface="+mn-lt"/>
              <a:cs typeface="+mn-lt"/>
            </a:endParaRPr>
          </a:p>
          <a:p>
            <a:pPr marL="457200" lvl="1" indent="0">
              <a:buNone/>
            </a:pP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11700092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277735" cy="5432203"/>
          </a:xfrm>
        </p:spPr>
        <p:txBody>
          <a:bodyPr lIns="91440" tIns="45720" rIns="91440" bIns="45720" anchor="t"/>
          <a:lstStyle/>
          <a:p>
            <a:pPr marL="0" indent="0">
              <a:buNone/>
            </a:pPr>
            <a:r>
              <a:rPr lang="en-US" b="1" dirty="0"/>
              <a:t>How will participating LEAs conduct testing and verification of their parallel submission to ensure vendor readiness</a:t>
            </a:r>
            <a:r>
              <a:rPr lang="en-US" sz="2800" b="1" dirty="0"/>
              <a:t>? </a:t>
            </a:r>
            <a:br>
              <a:rPr lang="en-US" sz="2800" b="1" dirty="0"/>
            </a:br>
            <a:endParaRPr lang="en-US" b="1" dirty="0">
              <a:cs typeface="Calibri" panose="020F0502020204030204"/>
            </a:endParaRPr>
          </a:p>
          <a:p>
            <a:pPr marL="457200" lvl="1" indent="0">
              <a:buNone/>
            </a:pPr>
            <a:r>
              <a:rPr lang="en-US" dirty="0">
                <a:ea typeface="+mn-lt"/>
                <a:cs typeface="+mn-lt"/>
              </a:rPr>
              <a:t>LEAs will submit their official XML data submissions along with the ODS 3.x API transactions provided by their vendor. Prior to the TSDS collection due dates, LEAs will compare and verify the XML data against the ODS 3.x data through promotions, validations, and reports available in the TSDS parallel portal. </a:t>
            </a:r>
          </a:p>
          <a:p>
            <a:pPr marL="457200" lvl="1" indent="0">
              <a:buNone/>
            </a:pPr>
            <a:endParaRPr lang="en-US" dirty="0">
              <a:ea typeface="+mn-lt"/>
              <a:cs typeface="+mn-lt"/>
            </a:endParaRPr>
          </a:p>
          <a:p>
            <a:pPr marL="457200" lvl="1" indent="0">
              <a:buNone/>
            </a:pPr>
            <a:r>
              <a:rPr lang="en-US" dirty="0">
                <a:ea typeface="+mn-lt"/>
                <a:cs typeface="+mn-lt"/>
              </a:rPr>
              <a:t>LEAs are strongly encouraged to conduct this comparison while validating their official XML data submissions to ensure the ODS 3.x local validations and downstream data mart validations are working as expected. </a:t>
            </a:r>
          </a:p>
          <a:p>
            <a:pPr marL="457200" lvl="1" indent="0">
              <a:buNone/>
            </a:pP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ED050E86-55C2-4B7D-BA4D-A740ACD38EBC}"/>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1282644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EA22AC3-DFF1-4B63-BBE1-A7D09BB52FCF}"/>
              </a:ext>
            </a:extLst>
          </p:cNvPr>
          <p:cNvSpPr/>
          <p:nvPr/>
        </p:nvSpPr>
        <p:spPr>
          <a:xfrm>
            <a:off x="2547142" y="1886768"/>
            <a:ext cx="4231038" cy="3886119"/>
          </a:xfrm>
          <a:prstGeom prst="rect">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7AC9B5C5-7B04-4D00-9FA6-A3CAE6BF41B3}"/>
              </a:ext>
            </a:extLst>
          </p:cNvPr>
          <p:cNvSpPr>
            <a:spLocks noGrp="1"/>
          </p:cNvSpPr>
          <p:nvPr>
            <p:ph type="title"/>
          </p:nvPr>
        </p:nvSpPr>
        <p:spPr/>
        <p:txBody>
          <a:bodyPr>
            <a:normAutofit fontScale="90000"/>
          </a:bodyPr>
          <a:lstStyle/>
          <a:p>
            <a:pPr algn="ctr"/>
            <a:r>
              <a:rPr lang="en-US" dirty="0">
                <a:solidFill>
                  <a:schemeClr val="bg1"/>
                </a:solidFill>
              </a:rPr>
              <a:t>OFFICE OF INFORMATION TECHNOLOGY</a:t>
            </a:r>
          </a:p>
        </p:txBody>
      </p:sp>
      <p:sp>
        <p:nvSpPr>
          <p:cNvPr id="22" name="TextBox 21">
            <a:extLst>
              <a:ext uri="{FF2B5EF4-FFF2-40B4-BE49-F238E27FC236}">
                <a16:creationId xmlns:a16="http://schemas.microsoft.com/office/drawing/2014/main" id="{CCDCD304-4B4E-4CE7-A75B-7E8BD93F9A6E}"/>
              </a:ext>
            </a:extLst>
          </p:cNvPr>
          <p:cNvSpPr txBox="1"/>
          <p:nvPr/>
        </p:nvSpPr>
        <p:spPr>
          <a:xfrm>
            <a:off x="3431161" y="895108"/>
            <a:ext cx="6694039" cy="646331"/>
          </a:xfrm>
          <a:prstGeom prst="rect">
            <a:avLst/>
          </a:prstGeom>
          <a:noFill/>
        </p:spPr>
        <p:txBody>
          <a:bodyPr wrap="square" rtlCol="0">
            <a:spAutoFit/>
          </a:bodyPr>
          <a:lstStyle/>
          <a:p>
            <a:pPr algn="ctr"/>
            <a:r>
              <a:rPr lang="en-US" dirty="0"/>
              <a:t>Customer Relationship Management &amp; Data Standards Department</a:t>
            </a:r>
          </a:p>
          <a:p>
            <a:pPr algn="ctr"/>
            <a:r>
              <a:rPr lang="en-US" dirty="0"/>
              <a:t>Information Technology </a:t>
            </a:r>
          </a:p>
        </p:txBody>
      </p:sp>
      <p:pic>
        <p:nvPicPr>
          <p:cNvPr id="3" name="Picture 2" descr="Texas Student Data System (TSDS)">
            <a:extLst>
              <a:ext uri="{FF2B5EF4-FFF2-40B4-BE49-F238E27FC236}">
                <a16:creationId xmlns:a16="http://schemas.microsoft.com/office/drawing/2014/main" id="{CA490107-7BB1-4342-9499-42D53DBADBAB}"/>
              </a:ext>
            </a:extLst>
          </p:cNvPr>
          <p:cNvPicPr>
            <a:picLocks noChangeAspect="1"/>
          </p:cNvPicPr>
          <p:nvPr/>
        </p:nvPicPr>
        <p:blipFill rotWithShape="1">
          <a:blip r:embed="rId3">
            <a:extLst>
              <a:ext uri="{28A0092B-C50C-407E-A947-70E740481C1C}">
                <a14:useLocalDpi xmlns:a14="http://schemas.microsoft.com/office/drawing/2010/main" val="0"/>
              </a:ext>
            </a:extLst>
          </a:blip>
          <a:srcRect r="48998" b="-1393"/>
          <a:stretch/>
        </p:blipFill>
        <p:spPr>
          <a:xfrm>
            <a:off x="2645898" y="2340982"/>
            <a:ext cx="4033526" cy="2478925"/>
          </a:xfrm>
          <a:prstGeom prst="rect">
            <a:avLst/>
          </a:prstGeom>
        </p:spPr>
      </p:pic>
      <p:sp>
        <p:nvSpPr>
          <p:cNvPr id="2" name="Rectangle 1">
            <a:extLst>
              <a:ext uri="{FF2B5EF4-FFF2-40B4-BE49-F238E27FC236}">
                <a16:creationId xmlns:a16="http://schemas.microsoft.com/office/drawing/2014/main" id="{96CEC16E-33A8-4848-B0C4-D218C5B39A81}"/>
              </a:ext>
            </a:extLst>
          </p:cNvPr>
          <p:cNvSpPr/>
          <p:nvPr/>
        </p:nvSpPr>
        <p:spPr>
          <a:xfrm>
            <a:off x="7113033" y="1886768"/>
            <a:ext cx="4231038" cy="3886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802A3F05-90D2-4A83-82C7-CDABD0A61D82}"/>
              </a:ext>
            </a:extLst>
          </p:cNvPr>
          <p:cNvSpPr txBox="1"/>
          <p:nvPr/>
        </p:nvSpPr>
        <p:spPr>
          <a:xfrm>
            <a:off x="7304764" y="2490999"/>
            <a:ext cx="3847575" cy="2677656"/>
          </a:xfrm>
          <a:prstGeom prst="rect">
            <a:avLst/>
          </a:prstGeom>
          <a:noFill/>
        </p:spPr>
        <p:txBody>
          <a:bodyPr wrap="square" rtlCol="0">
            <a:spAutoFit/>
          </a:bodyPr>
          <a:lstStyle/>
          <a:p>
            <a:r>
              <a:rPr lang="en-US" sz="2800" dirty="0">
                <a:solidFill>
                  <a:schemeClr val="bg1"/>
                </a:solidFill>
              </a:rPr>
              <a:t>A multi-year initiative to   upgrade the Operational Data Store (ODS) and Texas Education Data Standards (TEDS) to a current version of Ed-FI.</a:t>
            </a:r>
          </a:p>
        </p:txBody>
      </p:sp>
    </p:spTree>
    <p:extLst>
      <p:ext uri="{BB962C8B-B14F-4D97-AF65-F5344CB8AC3E}">
        <p14:creationId xmlns:p14="http://schemas.microsoft.com/office/powerpoint/2010/main" val="5135019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485196" cy="4568265"/>
          </a:xfrm>
        </p:spPr>
        <p:txBody>
          <a:bodyPr lIns="91440" tIns="45720" rIns="91440" bIns="45720" anchor="t"/>
          <a:lstStyle/>
          <a:p>
            <a:pPr marL="0" indent="0">
              <a:buNone/>
            </a:pPr>
            <a:r>
              <a:rPr lang="en-US" b="1" dirty="0"/>
              <a:t>Will there be bulk load functionality available for vendors and/or LEAs in ODS 3.x</a:t>
            </a:r>
            <a:r>
              <a:rPr lang="en-US" sz="2800" b="1" dirty="0"/>
              <a:t>? </a:t>
            </a:r>
            <a:br>
              <a:rPr lang="en-US" sz="2800" b="1" dirty="0"/>
            </a:br>
            <a:endParaRPr lang="en-US" b="1" dirty="0">
              <a:cs typeface="Calibri" panose="020F0502020204030204"/>
            </a:endParaRPr>
          </a:p>
          <a:p>
            <a:pPr marL="457200" lvl="1" indent="0">
              <a:buNone/>
            </a:pPr>
            <a:r>
              <a:rPr lang="en-US" sz="2400" dirty="0">
                <a:ea typeface="+mn-lt"/>
                <a:cs typeface="+mn-lt"/>
              </a:rPr>
              <a:t>Currently TEA is not expecting to implement bulk load functionality to allow LEAs to load their data into ODS 3.x</a:t>
            </a:r>
            <a:r>
              <a:rPr lang="en-US" dirty="0">
                <a:ea typeface="+mn-lt"/>
                <a:cs typeface="+mn-lt"/>
              </a:rPr>
              <a:t>.</a:t>
            </a:r>
          </a:p>
          <a:p>
            <a:pPr marL="457200" lvl="1" indent="0">
              <a:buNone/>
            </a:pPr>
            <a:endParaRPr lang="en-US" dirty="0">
              <a:ea typeface="+mn-lt"/>
              <a:cs typeface="+mn-lt"/>
            </a:endParaRPr>
          </a:p>
          <a:p>
            <a:pPr marL="457200" lvl="1" indent="0">
              <a:buNone/>
            </a:pPr>
            <a:r>
              <a:rPr lang="en-US" dirty="0"/>
              <a:t>All data submissions into the ODS will utilize the Ed-Fi APIs. </a:t>
            </a: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ABCABC42-0C6E-4430-B30E-F0875EA24BE0}"/>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112619823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485196" cy="4568265"/>
          </a:xfrm>
        </p:spPr>
        <p:txBody>
          <a:bodyPr lIns="91440" tIns="45720" rIns="91440" bIns="45720" anchor="t"/>
          <a:lstStyle/>
          <a:p>
            <a:pPr marL="0" indent="0">
              <a:buNone/>
            </a:pPr>
            <a:r>
              <a:rPr lang="en-US" b="1" dirty="0"/>
              <a:t>Will there be delete functionality available for vendors and/or LEAs in ODS 3.x</a:t>
            </a:r>
            <a:r>
              <a:rPr lang="en-US" sz="2800" b="1" dirty="0"/>
              <a:t>? </a:t>
            </a:r>
            <a:br>
              <a:rPr lang="en-US" sz="2800" b="1" dirty="0"/>
            </a:br>
            <a:endParaRPr lang="en-US" b="1" dirty="0">
              <a:cs typeface="Calibri" panose="020F0502020204030204"/>
            </a:endParaRPr>
          </a:p>
          <a:p>
            <a:pPr marL="457200" lvl="1" indent="0">
              <a:buNone/>
            </a:pPr>
            <a:r>
              <a:rPr lang="en-US" dirty="0">
                <a:ea typeface="+mn-lt"/>
                <a:cs typeface="+mn-lt"/>
              </a:rPr>
              <a:t>The ODS 3.x upgrade will eliminate the requirement for a Delete Utility. Data deletes will be submitted through the API just as add and change transactions are submitted. LEAs will have transparency into what data has been loaded in the Landing Zone and what data was loaded into to the Transition Zone. </a:t>
            </a:r>
          </a:p>
          <a:p>
            <a:pPr marL="457200" lvl="1" indent="0">
              <a:buNone/>
            </a:pPr>
            <a:endParaRPr lang="en-US" dirty="0">
              <a:ea typeface="+mn-lt"/>
              <a:cs typeface="+mn-lt"/>
            </a:endParaRPr>
          </a:p>
          <a:p>
            <a:pPr marL="457200" lvl="1" indent="0">
              <a:buNone/>
            </a:pP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51542C07-A1FC-416D-990A-0FD7EC571D18}"/>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1579919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9485196" cy="5402689"/>
          </a:xfrm>
        </p:spPr>
        <p:txBody>
          <a:bodyPr lIns="91440" tIns="45720" rIns="91440" bIns="45720" anchor="t"/>
          <a:lstStyle/>
          <a:p>
            <a:pPr marL="0" indent="0">
              <a:buNone/>
            </a:pPr>
            <a:r>
              <a:rPr lang="en-US" b="1" dirty="0"/>
              <a:t>Will TSDS still require individual TSDS PEIMS and CORE submissions</a:t>
            </a:r>
            <a:r>
              <a:rPr lang="en-US" sz="2800" b="1" dirty="0"/>
              <a:t>? </a:t>
            </a:r>
            <a:br>
              <a:rPr lang="en-US" sz="2800" b="1" dirty="0"/>
            </a:br>
            <a:endParaRPr lang="en-US" b="1" dirty="0">
              <a:cs typeface="Calibri" panose="020F0502020204030204"/>
            </a:endParaRPr>
          </a:p>
          <a:p>
            <a:pPr marL="457200" lvl="1" indent="0">
              <a:buNone/>
            </a:pPr>
            <a:r>
              <a:rPr lang="en-US" dirty="0">
                <a:ea typeface="+mn-lt"/>
                <a:cs typeface="+mn-lt"/>
              </a:rPr>
              <a:t>The ODS 3.x upgrade will eliminate the requirement for data to be designated as "PEIMS" or "Core" data. All data submitted through the APIs will be stored in the ODS. </a:t>
            </a:r>
          </a:p>
          <a:p>
            <a:pPr marL="457200" lvl="1" indent="0">
              <a:buNone/>
            </a:pPr>
            <a:endParaRPr lang="en-US" dirty="0">
              <a:ea typeface="+mn-lt"/>
              <a:cs typeface="+mn-lt"/>
            </a:endParaRPr>
          </a:p>
          <a:p>
            <a:pPr marL="457200" lvl="1" indent="0">
              <a:buNone/>
            </a:pPr>
            <a:r>
              <a:rPr lang="en-US" dirty="0">
                <a:ea typeface="+mn-lt"/>
                <a:cs typeface="+mn-lt"/>
              </a:rPr>
              <a:t>Data will be promoted from the ODS for specific collections based on "effective dating" by using begin and end dates as delivered by the Ed-Fi model</a:t>
            </a:r>
            <a:r>
              <a:rPr lang="en-US" sz="1800" dirty="0">
                <a:effectLst/>
                <a:latin typeface="Segoe UI" panose="020B0502040204020203" pitchFamily="34" charset="0"/>
              </a:rPr>
              <a:t>.</a:t>
            </a:r>
          </a:p>
          <a:p>
            <a:pPr marL="457200" lvl="1" indent="0">
              <a:buNone/>
            </a:pPr>
            <a:endParaRPr lang="en-US" sz="1800" dirty="0">
              <a:latin typeface="Segoe UI" panose="020B0502040204020203" pitchFamily="34" charset="0"/>
              <a:ea typeface="+mn-lt"/>
              <a:cs typeface="+mn-lt"/>
            </a:endParaRPr>
          </a:p>
          <a:p>
            <a:pPr marL="457200" lvl="1" indent="0">
              <a:buNone/>
            </a:pPr>
            <a:r>
              <a:rPr lang="en-US" dirty="0">
                <a:ea typeface="+mn-lt"/>
                <a:cs typeface="+mn-lt"/>
              </a:rPr>
              <a:t>Data elements that require begin and end dates are identified in the data standards. </a:t>
            </a:r>
          </a:p>
          <a:p>
            <a:pPr marL="457200" lvl="1" indent="0">
              <a:buNone/>
            </a:pP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46F7E9A5-208E-422E-AE38-083B4F07C1E0}"/>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22004223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F6CE2FE-F02B-461B-8C8F-E1DFA26F0ED4}"/>
              </a:ext>
            </a:extLst>
          </p:cNvPr>
          <p:cNvSpPr>
            <a:spLocks noGrp="1"/>
          </p:cNvSpPr>
          <p:nvPr>
            <p:ph idx="1"/>
          </p:nvPr>
        </p:nvSpPr>
        <p:spPr>
          <a:xfrm>
            <a:off x="2201841" y="1144867"/>
            <a:ext cx="8977993" cy="5277967"/>
          </a:xfrm>
        </p:spPr>
        <p:txBody>
          <a:bodyPr lIns="91440" tIns="45720" rIns="91440" bIns="45720" anchor="t"/>
          <a:lstStyle/>
          <a:p>
            <a:pPr marL="0" indent="0">
              <a:buNone/>
            </a:pPr>
            <a:r>
              <a:rPr lang="en-US" sz="2800" b="1" dirty="0"/>
              <a:t>How will TEA ensure vendor readiness for the 2023-2024 Go-Live </a:t>
            </a:r>
            <a:r>
              <a:rPr lang="en-US" b="1" dirty="0"/>
              <a:t>year</a:t>
            </a:r>
            <a:r>
              <a:rPr lang="en-US" sz="2800" b="1" dirty="0"/>
              <a:t>? </a:t>
            </a:r>
            <a:br>
              <a:rPr lang="en-US" sz="2800" b="1" dirty="0"/>
            </a:br>
            <a:endParaRPr lang="en-US" b="1" dirty="0">
              <a:cs typeface="Calibri" panose="020F0502020204030204"/>
            </a:endParaRPr>
          </a:p>
          <a:p>
            <a:pPr marL="457200" lvl="1" indent="0">
              <a:buNone/>
            </a:pPr>
            <a:r>
              <a:rPr lang="en-US" sz="2400" dirty="0">
                <a:ea typeface="+mn-lt"/>
                <a:cs typeface="+mn-lt"/>
              </a:rPr>
              <a:t>TEA is requiring all TSDS source vendors to participate in the 2022-2023 parallel submission year with at least one LEA</a:t>
            </a:r>
            <a:r>
              <a:rPr lang="en-US" dirty="0">
                <a:ea typeface="+mn-lt"/>
                <a:cs typeface="+mn-lt"/>
              </a:rPr>
              <a:t>.</a:t>
            </a:r>
          </a:p>
          <a:p>
            <a:pPr marL="457200" lvl="1" indent="0">
              <a:buNone/>
            </a:pPr>
            <a:endParaRPr lang="en-US" sz="2000" dirty="0">
              <a:ea typeface="+mn-lt"/>
              <a:cs typeface="+mn-lt"/>
            </a:endParaRPr>
          </a:p>
          <a:p>
            <a:pPr marL="457200" lvl="1" indent="0">
              <a:buNone/>
            </a:pPr>
            <a:r>
              <a:rPr lang="en-US" dirty="0">
                <a:ea typeface="+mn-lt"/>
                <a:cs typeface="+mn-lt"/>
              </a:rPr>
              <a:t>Vendors will be required to obtain Ed-Fi certification for their products prior to the 2023-2024 Go-Live year. In addition, TEA will be providing a TSDS Compatible Designation to vendors that successfully complete the parallel submission requirements and have been confirmed by their participating LEA(s). </a:t>
            </a:r>
          </a:p>
          <a:p>
            <a:pPr marL="457200" lvl="1" indent="0">
              <a:buNone/>
            </a:pPr>
            <a:endParaRPr lang="en-US" dirty="0">
              <a:ea typeface="+mn-lt"/>
              <a:cs typeface="+mn-lt"/>
            </a:endParaRPr>
          </a:p>
          <a:p>
            <a:pPr marL="457200" lvl="1" indent="0">
              <a:buNone/>
            </a:pPr>
            <a:r>
              <a:rPr lang="en-US" dirty="0">
                <a:ea typeface="+mn-lt"/>
                <a:cs typeface="+mn-lt"/>
              </a:rPr>
              <a:t>TEA will continue to provide frequent communications, guidance, and support to vendors throughout the process.</a:t>
            </a:r>
          </a:p>
          <a:p>
            <a:pPr marL="457200" lvl="1" indent="0">
              <a:buNone/>
            </a:pPr>
            <a:br>
              <a:rPr lang="en-US" dirty="0">
                <a:ea typeface="+mn-lt"/>
                <a:cs typeface="+mn-lt"/>
              </a:rPr>
            </a:br>
            <a:endParaRPr lang="en-US" dirty="0">
              <a:ea typeface="+mn-lt"/>
              <a:cs typeface="+mn-lt"/>
            </a:endParaRPr>
          </a:p>
          <a:p>
            <a:pPr marL="0" indent="0">
              <a:buNone/>
            </a:pPr>
            <a:endParaRPr lang="en-US" dirty="0">
              <a:cs typeface="Calibri"/>
            </a:endParaRPr>
          </a:p>
        </p:txBody>
      </p:sp>
      <p:sp>
        <p:nvSpPr>
          <p:cNvPr id="5" name="Title 4">
            <a:extLst>
              <a:ext uri="{FF2B5EF4-FFF2-40B4-BE49-F238E27FC236}">
                <a16:creationId xmlns:a16="http://schemas.microsoft.com/office/drawing/2014/main" id="{46F7E9A5-208E-422E-AE38-083B4F07C1E0}"/>
              </a:ext>
            </a:extLst>
          </p:cNvPr>
          <p:cNvSpPr>
            <a:spLocks noGrp="1"/>
          </p:cNvSpPr>
          <p:nvPr>
            <p:ph type="title"/>
          </p:nvPr>
        </p:nvSpPr>
        <p:spPr/>
        <p:txBody>
          <a:bodyPr>
            <a:normAutofit fontScale="90000"/>
          </a:bodyPr>
          <a:lstStyle/>
          <a:p>
            <a:r>
              <a:rPr lang="en-US" dirty="0">
                <a:cs typeface="Calibri"/>
              </a:rPr>
              <a:t>FREQUENTLY ASKED QUESTIONS</a:t>
            </a:r>
            <a:endParaRPr lang="en-US" dirty="0"/>
          </a:p>
        </p:txBody>
      </p:sp>
    </p:spTree>
    <p:extLst>
      <p:ext uri="{BB962C8B-B14F-4D97-AF65-F5344CB8AC3E}">
        <p14:creationId xmlns:p14="http://schemas.microsoft.com/office/powerpoint/2010/main" val="12331857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Graphical user interface, text, application, email&#10;&#10;Description automatically generated">
            <a:extLst>
              <a:ext uri="{FF2B5EF4-FFF2-40B4-BE49-F238E27FC236}">
                <a16:creationId xmlns:a16="http://schemas.microsoft.com/office/drawing/2014/main" id="{A6A37D0C-9BA5-45A7-9FAF-E021BD0A73F0}"/>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475868" y="2385765"/>
            <a:ext cx="8988726" cy="406739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7" name="Title 2">
            <a:extLst>
              <a:ext uri="{FF2B5EF4-FFF2-40B4-BE49-F238E27FC236}">
                <a16:creationId xmlns:a16="http://schemas.microsoft.com/office/drawing/2014/main" id="{D418E1C9-D1F4-4584-9A84-98D5998AE0B6}"/>
              </a:ext>
            </a:extLst>
          </p:cNvPr>
          <p:cNvSpPr>
            <a:spLocks noGrp="1"/>
          </p:cNvSpPr>
          <p:nvPr>
            <p:ph type="title"/>
          </p:nvPr>
        </p:nvSpPr>
        <p:spPr>
          <a:xfrm>
            <a:off x="2212290" y="199694"/>
            <a:ext cx="9515883" cy="542429"/>
          </a:xfrm>
        </p:spPr>
        <p:txBody>
          <a:bodyPr>
            <a:noAutofit/>
          </a:bodyPr>
          <a:lstStyle/>
          <a:p>
            <a:r>
              <a:rPr lang="en-US" dirty="0"/>
              <a:t>TAA LETTER</a:t>
            </a:r>
          </a:p>
        </p:txBody>
      </p:sp>
      <p:sp>
        <p:nvSpPr>
          <p:cNvPr id="6" name="TextBox 5">
            <a:extLst>
              <a:ext uri="{FF2B5EF4-FFF2-40B4-BE49-F238E27FC236}">
                <a16:creationId xmlns:a16="http://schemas.microsoft.com/office/drawing/2014/main" id="{B3EF1120-7A35-4538-B327-608A0422A9DE}"/>
              </a:ext>
            </a:extLst>
          </p:cNvPr>
          <p:cNvSpPr txBox="1"/>
          <p:nvPr/>
        </p:nvSpPr>
        <p:spPr>
          <a:xfrm>
            <a:off x="2341754" y="1368415"/>
            <a:ext cx="9256953" cy="738664"/>
          </a:xfrm>
          <a:prstGeom prst="rect">
            <a:avLst/>
          </a:prstGeom>
          <a:noFill/>
        </p:spPr>
        <p:txBody>
          <a:bodyPr wrap="square" rtlCol="0">
            <a:spAutoFit/>
          </a:bodyPr>
          <a:lstStyle/>
          <a:p>
            <a:pPr marL="0" indent="0">
              <a:buNone/>
            </a:pPr>
            <a:r>
              <a:rPr lang="en-US" sz="2400" dirty="0"/>
              <a:t>Published </a:t>
            </a:r>
            <a:r>
              <a:rPr lang="en-US" sz="2400" dirty="0">
                <a:hlinkClick r:id="rId4"/>
              </a:rPr>
              <a:t>To the Administrator Addressed (TAA)</a:t>
            </a:r>
            <a:r>
              <a:rPr lang="en-US" sz="2400" dirty="0"/>
              <a:t> on </a:t>
            </a:r>
            <a:r>
              <a:rPr lang="en-US" sz="2400" b="1" dirty="0"/>
              <a:t>September 30, 2021</a:t>
            </a:r>
          </a:p>
          <a:p>
            <a:pPr lvl="1"/>
            <a:endParaRPr lang="en-US" dirty="0"/>
          </a:p>
        </p:txBody>
      </p:sp>
    </p:spTree>
    <p:extLst>
      <p:ext uri="{BB962C8B-B14F-4D97-AF65-F5344CB8AC3E}">
        <p14:creationId xmlns:p14="http://schemas.microsoft.com/office/powerpoint/2010/main" val="18416478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AE0E511-8808-46F4-8573-BB38D117974C}"/>
              </a:ext>
            </a:extLst>
          </p:cNvPr>
          <p:cNvSpPr>
            <a:spLocks noGrp="1"/>
          </p:cNvSpPr>
          <p:nvPr>
            <p:ph type="ctrTitle"/>
          </p:nvPr>
        </p:nvSpPr>
        <p:spPr>
          <a:xfrm>
            <a:off x="341698" y="591506"/>
            <a:ext cx="2870789" cy="2351382"/>
          </a:xfrm>
        </p:spPr>
        <p:txBody>
          <a:bodyPr vert="horz" lIns="91440" tIns="45720" rIns="91440" bIns="45720" rtlCol="0" anchor="ctr">
            <a:noAutofit/>
          </a:bodyPr>
          <a:lstStyle/>
          <a:p>
            <a:r>
              <a:rPr lang="en-US" dirty="0">
                <a:cs typeface="Calibri"/>
              </a:rPr>
              <a:t>Questions</a:t>
            </a:r>
          </a:p>
        </p:txBody>
      </p:sp>
    </p:spTree>
    <p:extLst>
      <p:ext uri="{BB962C8B-B14F-4D97-AF65-F5344CB8AC3E}">
        <p14:creationId xmlns:p14="http://schemas.microsoft.com/office/powerpoint/2010/main" val="29725530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4002-723C-43C5-982B-12367EB9C9C1}"/>
              </a:ext>
            </a:extLst>
          </p:cNvPr>
          <p:cNvSpPr>
            <a:spLocks noGrp="1"/>
          </p:cNvSpPr>
          <p:nvPr>
            <p:ph type="title"/>
          </p:nvPr>
        </p:nvSpPr>
        <p:spPr/>
        <p:txBody>
          <a:bodyPr/>
          <a:lstStyle/>
          <a:p>
            <a:r>
              <a:rPr lang="en-US" dirty="0"/>
              <a:t>ODS 3.x ARCHITECTURE</a:t>
            </a:r>
          </a:p>
        </p:txBody>
      </p:sp>
      <p:pic>
        <p:nvPicPr>
          <p:cNvPr id="13" name="Picture 12" descr="Planned ODS 3.x architecture diagram to show the components and system flow.">
            <a:extLst>
              <a:ext uri="{FF2B5EF4-FFF2-40B4-BE49-F238E27FC236}">
                <a16:creationId xmlns:a16="http://schemas.microsoft.com/office/drawing/2014/main" id="{6CFA2A6C-615A-41D0-8239-03F80B5FE935}"/>
              </a:ext>
            </a:extLst>
          </p:cNvPr>
          <p:cNvPicPr>
            <a:picLocks noChangeAspect="1"/>
          </p:cNvPicPr>
          <p:nvPr/>
        </p:nvPicPr>
        <p:blipFill>
          <a:blip r:embed="rId3"/>
          <a:stretch>
            <a:fillRect/>
          </a:stretch>
        </p:blipFill>
        <p:spPr>
          <a:xfrm>
            <a:off x="516076" y="1110315"/>
            <a:ext cx="8260536" cy="4879869"/>
          </a:xfrm>
          <a:prstGeom prst="rect">
            <a:avLst/>
          </a:prstGeom>
        </p:spPr>
      </p:pic>
      <p:pic>
        <p:nvPicPr>
          <p:cNvPr id="17" name="Picture 16" descr="Legenda for architecture diagram ">
            <a:extLst>
              <a:ext uri="{FF2B5EF4-FFF2-40B4-BE49-F238E27FC236}">
                <a16:creationId xmlns:a16="http://schemas.microsoft.com/office/drawing/2014/main" id="{57BCC27A-0F28-4D66-9BA4-AB8C802C95E3}"/>
              </a:ext>
            </a:extLst>
          </p:cNvPr>
          <p:cNvPicPr>
            <a:picLocks noChangeAspect="1"/>
          </p:cNvPicPr>
          <p:nvPr/>
        </p:nvPicPr>
        <p:blipFill rotWithShape="1">
          <a:blip r:embed="rId4"/>
          <a:srcRect l="4571"/>
          <a:stretch/>
        </p:blipFill>
        <p:spPr>
          <a:xfrm>
            <a:off x="9046029" y="1110315"/>
            <a:ext cx="2654383" cy="2735817"/>
          </a:xfrm>
          <a:prstGeom prst="rect">
            <a:avLst/>
          </a:prstGeom>
        </p:spPr>
      </p:pic>
    </p:spTree>
    <p:extLst>
      <p:ext uri="{BB962C8B-B14F-4D97-AF65-F5344CB8AC3E}">
        <p14:creationId xmlns:p14="http://schemas.microsoft.com/office/powerpoint/2010/main" val="206310438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Diagram&#10;&#10;Description automatically generated">
            <a:extLst>
              <a:ext uri="{FF2B5EF4-FFF2-40B4-BE49-F238E27FC236}">
                <a16:creationId xmlns:a16="http://schemas.microsoft.com/office/drawing/2014/main" id="{B3C64EE2-F0D7-4BC2-AFA8-4C6775E0ED66}"/>
              </a:ext>
            </a:extLst>
          </p:cNvPr>
          <p:cNvPicPr>
            <a:picLocks noChangeAspect="1"/>
          </p:cNvPicPr>
          <p:nvPr/>
        </p:nvPicPr>
        <p:blipFill>
          <a:blip r:embed="rId2"/>
          <a:stretch>
            <a:fillRect/>
          </a:stretch>
        </p:blipFill>
        <p:spPr>
          <a:xfrm>
            <a:off x="200435" y="1452519"/>
            <a:ext cx="9548558" cy="4351338"/>
          </a:xfrm>
          <a:prstGeom prst="rect">
            <a:avLst/>
          </a:prstGeom>
        </p:spPr>
      </p:pic>
      <p:pic>
        <p:nvPicPr>
          <p:cNvPr id="11" name="Picture 6" descr="Graphical user interface, text, application&#10;&#10;Description automatically generated">
            <a:extLst>
              <a:ext uri="{FF2B5EF4-FFF2-40B4-BE49-F238E27FC236}">
                <a16:creationId xmlns:a16="http://schemas.microsoft.com/office/drawing/2014/main" id="{E8C1A40F-040E-4D03-B661-37B1FA7790AE}"/>
              </a:ext>
            </a:extLst>
          </p:cNvPr>
          <p:cNvPicPr>
            <a:picLocks noChangeAspect="1"/>
          </p:cNvPicPr>
          <p:nvPr/>
        </p:nvPicPr>
        <p:blipFill rotWithShape="1">
          <a:blip r:embed="rId3"/>
          <a:srcRect t="2906"/>
          <a:stretch/>
        </p:blipFill>
        <p:spPr>
          <a:xfrm>
            <a:off x="9828362" y="1506828"/>
            <a:ext cx="2283125" cy="1739807"/>
          </a:xfrm>
          <a:prstGeom prst="rect">
            <a:avLst/>
          </a:prstGeom>
        </p:spPr>
      </p:pic>
      <p:sp>
        <p:nvSpPr>
          <p:cNvPr id="3" name="Rectangle: Rounded Corners 2">
            <a:extLst>
              <a:ext uri="{FF2B5EF4-FFF2-40B4-BE49-F238E27FC236}">
                <a16:creationId xmlns:a16="http://schemas.microsoft.com/office/drawing/2014/main" id="{E407D8F8-465E-4183-BB41-3B601A960C47}"/>
              </a:ext>
            </a:extLst>
          </p:cNvPr>
          <p:cNvSpPr/>
          <p:nvPr/>
        </p:nvSpPr>
        <p:spPr>
          <a:xfrm>
            <a:off x="2360916" y="1442865"/>
            <a:ext cx="1222873" cy="2236424"/>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3C5FB032-CB40-4332-A785-7A398E04170D}"/>
              </a:ext>
            </a:extLst>
          </p:cNvPr>
          <p:cNvSpPr/>
          <p:nvPr/>
        </p:nvSpPr>
        <p:spPr>
          <a:xfrm>
            <a:off x="2453569" y="1561512"/>
            <a:ext cx="1028700" cy="310351"/>
          </a:xfrm>
          <a:prstGeom prst="rect">
            <a:avLst/>
          </a:prstGeom>
          <a:solidFill>
            <a:srgbClr val="FFC000"/>
          </a:solidFill>
          <a:ln w="22225">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1</a:t>
            </a:r>
          </a:p>
        </p:txBody>
      </p:sp>
      <p:sp>
        <p:nvSpPr>
          <p:cNvPr id="4" name="Rectangle: Rounded Corners 3">
            <a:extLst>
              <a:ext uri="{FF2B5EF4-FFF2-40B4-BE49-F238E27FC236}">
                <a16:creationId xmlns:a16="http://schemas.microsoft.com/office/drawing/2014/main" id="{C31807BE-FAEF-4A72-A5C5-31D9BBDDD3CD}"/>
              </a:ext>
            </a:extLst>
          </p:cNvPr>
          <p:cNvSpPr/>
          <p:nvPr/>
        </p:nvSpPr>
        <p:spPr>
          <a:xfrm>
            <a:off x="5682207" y="1464470"/>
            <a:ext cx="1705383" cy="1114143"/>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002F0DE-1EB0-4704-AC1D-45B6D7349A43}"/>
              </a:ext>
            </a:extLst>
          </p:cNvPr>
          <p:cNvSpPr/>
          <p:nvPr/>
        </p:nvSpPr>
        <p:spPr>
          <a:xfrm>
            <a:off x="5952024" y="1565728"/>
            <a:ext cx="1120140" cy="287020"/>
          </a:xfrm>
          <a:prstGeom prst="rect">
            <a:avLst/>
          </a:prstGeom>
          <a:solidFill>
            <a:srgbClr val="FFC000"/>
          </a:solidFill>
          <a:ln w="22225">
            <a:solidFill>
              <a:schemeClr val="bg1"/>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1.5</a:t>
            </a:r>
          </a:p>
        </p:txBody>
      </p:sp>
      <p:sp>
        <p:nvSpPr>
          <p:cNvPr id="16" name="Rectangle: Rounded Corners 15">
            <a:extLst>
              <a:ext uri="{FF2B5EF4-FFF2-40B4-BE49-F238E27FC236}">
                <a16:creationId xmlns:a16="http://schemas.microsoft.com/office/drawing/2014/main" id="{408DC493-0CD4-4B1E-AAA5-EAD810D97825}"/>
              </a:ext>
            </a:extLst>
          </p:cNvPr>
          <p:cNvSpPr/>
          <p:nvPr/>
        </p:nvSpPr>
        <p:spPr>
          <a:xfrm>
            <a:off x="5649622" y="751691"/>
            <a:ext cx="1737968" cy="3032909"/>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DA3FCCBD-1AFD-4B88-81E4-C838D5BB5860}"/>
              </a:ext>
            </a:extLst>
          </p:cNvPr>
          <p:cNvSpPr/>
          <p:nvPr/>
        </p:nvSpPr>
        <p:spPr>
          <a:xfrm>
            <a:off x="5983935" y="895438"/>
            <a:ext cx="1002425" cy="319251"/>
          </a:xfrm>
          <a:prstGeom prst="rect">
            <a:avLst/>
          </a:prstGeom>
          <a:solidFill>
            <a:srgbClr val="FFC000"/>
          </a:solidFill>
          <a:ln w="22225">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2</a:t>
            </a:r>
          </a:p>
        </p:txBody>
      </p:sp>
      <p:sp>
        <p:nvSpPr>
          <p:cNvPr id="20" name="Rectangle 19">
            <a:extLst>
              <a:ext uri="{FF2B5EF4-FFF2-40B4-BE49-F238E27FC236}">
                <a16:creationId xmlns:a16="http://schemas.microsoft.com/office/drawing/2014/main" id="{AABCB049-E182-4A25-9830-E0F8883AE1CB}"/>
              </a:ext>
            </a:extLst>
          </p:cNvPr>
          <p:cNvSpPr/>
          <p:nvPr/>
        </p:nvSpPr>
        <p:spPr>
          <a:xfrm>
            <a:off x="5962610" y="4124057"/>
            <a:ext cx="1303565" cy="266700"/>
          </a:xfrm>
          <a:prstGeom prst="rect">
            <a:avLst/>
          </a:prstGeom>
          <a:solidFill>
            <a:srgbClr val="FFC000"/>
          </a:solidFill>
          <a:ln w="22225">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rgbClr val="000000"/>
                </a:solidFill>
              </a:rPr>
              <a:t>LEVEL 3</a:t>
            </a:r>
          </a:p>
        </p:txBody>
      </p:sp>
      <p:sp>
        <p:nvSpPr>
          <p:cNvPr id="22" name="Rectangle: Rounded Corners 21">
            <a:extLst>
              <a:ext uri="{FF2B5EF4-FFF2-40B4-BE49-F238E27FC236}">
                <a16:creationId xmlns:a16="http://schemas.microsoft.com/office/drawing/2014/main" id="{A895B480-53C9-47BB-B998-767CDFCAD26E}"/>
              </a:ext>
            </a:extLst>
          </p:cNvPr>
          <p:cNvSpPr/>
          <p:nvPr/>
        </p:nvSpPr>
        <p:spPr>
          <a:xfrm>
            <a:off x="5675060" y="3964854"/>
            <a:ext cx="1814273" cy="1800052"/>
          </a:xfrm>
          <a:prstGeom prst="roundRect">
            <a:avLst/>
          </a:prstGeom>
          <a:noFill/>
          <a:ln w="508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AC3EF770-B08C-46A2-AD4B-B3F8CFD68952}"/>
              </a:ext>
            </a:extLst>
          </p:cNvPr>
          <p:cNvSpPr txBox="1">
            <a:spLocks/>
          </p:cNvSpPr>
          <p:nvPr/>
        </p:nvSpPr>
        <p:spPr>
          <a:xfrm>
            <a:off x="372138" y="141279"/>
            <a:ext cx="11121657" cy="751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kern="1200">
                <a:solidFill>
                  <a:schemeClr val="accent1"/>
                </a:solidFill>
                <a:latin typeface="+mn-lt"/>
                <a:ea typeface="+mj-ea"/>
                <a:cs typeface="+mj-cs"/>
              </a:defRPr>
            </a:lvl1pPr>
          </a:lstStyle>
          <a:p>
            <a:endParaRPr lang="en-US" dirty="0"/>
          </a:p>
        </p:txBody>
      </p:sp>
      <p:sp>
        <p:nvSpPr>
          <p:cNvPr id="9" name="Title 8">
            <a:extLst>
              <a:ext uri="{FF2B5EF4-FFF2-40B4-BE49-F238E27FC236}">
                <a16:creationId xmlns:a16="http://schemas.microsoft.com/office/drawing/2014/main" id="{A3797252-C83D-47E0-83BA-AAA8B1568095}"/>
              </a:ext>
            </a:extLst>
          </p:cNvPr>
          <p:cNvSpPr>
            <a:spLocks noGrp="1"/>
          </p:cNvSpPr>
          <p:nvPr>
            <p:ph type="title"/>
          </p:nvPr>
        </p:nvSpPr>
        <p:spPr/>
        <p:txBody>
          <a:bodyPr/>
          <a:lstStyle/>
          <a:p>
            <a:r>
              <a:rPr lang="en-US" dirty="0"/>
              <a:t>LEVELS OF VALIDATIONS</a:t>
            </a:r>
          </a:p>
        </p:txBody>
      </p:sp>
    </p:spTree>
    <p:extLst>
      <p:ext uri="{BB962C8B-B14F-4D97-AF65-F5344CB8AC3E}">
        <p14:creationId xmlns:p14="http://schemas.microsoft.com/office/powerpoint/2010/main" val="26249215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Icon of a database">
            <a:extLst>
              <a:ext uri="{FF2B5EF4-FFF2-40B4-BE49-F238E27FC236}">
                <a16:creationId xmlns:a16="http://schemas.microsoft.com/office/drawing/2014/main" id="{4A34EAC3-760B-487D-A5B6-2FADDBF85D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60096" y="3389806"/>
            <a:ext cx="950626" cy="950626"/>
          </a:xfrm>
          <a:prstGeom prst="rect">
            <a:avLst/>
          </a:prstGeom>
        </p:spPr>
      </p:pic>
      <p:pic>
        <p:nvPicPr>
          <p:cNvPr id="7" name="Picture 6" descr="Icon of a file check">
            <a:extLst>
              <a:ext uri="{FF2B5EF4-FFF2-40B4-BE49-F238E27FC236}">
                <a16:creationId xmlns:a16="http://schemas.microsoft.com/office/drawing/2014/main" id="{1618B0D7-BA05-4F1F-ABA4-C2596CCB22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62424" y="5376200"/>
            <a:ext cx="1229098" cy="1229098"/>
          </a:xfrm>
          <a:prstGeom prst="rect">
            <a:avLst/>
          </a:prstGeom>
        </p:spPr>
      </p:pic>
      <p:pic>
        <p:nvPicPr>
          <p:cNvPr id="5" name="Picture 4" descr="Icon of an XML file">
            <a:extLst>
              <a:ext uri="{FF2B5EF4-FFF2-40B4-BE49-F238E27FC236}">
                <a16:creationId xmlns:a16="http://schemas.microsoft.com/office/drawing/2014/main" id="{50730779-E7BD-4EFA-9D49-7761DF9F43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424" y="1288472"/>
            <a:ext cx="1229097" cy="1229097"/>
          </a:xfrm>
          <a:prstGeom prst="rect">
            <a:avLst/>
          </a:prstGeom>
        </p:spPr>
      </p:pic>
      <p:sp>
        <p:nvSpPr>
          <p:cNvPr id="2" name="Title 1">
            <a:extLst>
              <a:ext uri="{FF2B5EF4-FFF2-40B4-BE49-F238E27FC236}">
                <a16:creationId xmlns:a16="http://schemas.microsoft.com/office/drawing/2014/main" id="{5DB612E3-ACBC-4A11-9CF8-1813F34ADC41}"/>
              </a:ext>
            </a:extLst>
          </p:cNvPr>
          <p:cNvSpPr>
            <a:spLocks noGrp="1"/>
          </p:cNvSpPr>
          <p:nvPr>
            <p:ph type="title"/>
          </p:nvPr>
        </p:nvSpPr>
        <p:spPr/>
        <p:txBody>
          <a:bodyPr>
            <a:noAutofit/>
          </a:bodyPr>
          <a:lstStyle/>
          <a:p>
            <a:r>
              <a:rPr lang="en-US" dirty="0"/>
              <a:t>CURRENT PROCESS</a:t>
            </a:r>
          </a:p>
        </p:txBody>
      </p:sp>
      <p:graphicFrame>
        <p:nvGraphicFramePr>
          <p:cNvPr id="3" name="Diagram 2">
            <a:extLst>
              <a:ext uri="{FF2B5EF4-FFF2-40B4-BE49-F238E27FC236}">
                <a16:creationId xmlns:a16="http://schemas.microsoft.com/office/drawing/2014/main" id="{239C5E30-355E-4389-A244-342CC2C30CB1}"/>
              </a:ext>
            </a:extLst>
          </p:cNvPr>
          <p:cNvGraphicFramePr/>
          <p:nvPr/>
        </p:nvGraphicFramePr>
        <p:xfrm>
          <a:off x="3008393" y="1186631"/>
          <a:ext cx="8128000" cy="541866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21041829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6942845-BD5A-42C5-A5C4-13339DD507AB}"/>
              </a:ext>
            </a:extLst>
          </p:cNvPr>
          <p:cNvSpPr>
            <a:spLocks noGrp="1"/>
          </p:cNvSpPr>
          <p:nvPr>
            <p:ph type="title"/>
          </p:nvPr>
        </p:nvSpPr>
        <p:spPr>
          <a:xfrm>
            <a:off x="2201841" y="167275"/>
            <a:ext cx="9630770" cy="751350"/>
          </a:xfrm>
        </p:spPr>
        <p:txBody>
          <a:bodyPr>
            <a:normAutofit/>
          </a:bodyPr>
          <a:lstStyle/>
          <a:p>
            <a:r>
              <a:rPr lang="en-US" dirty="0">
                <a:cs typeface="Calibri"/>
              </a:rPr>
              <a:t>WHAT IS EXPECTED TO CHANGE?</a:t>
            </a:r>
            <a:endParaRPr lang="en-US" dirty="0"/>
          </a:p>
        </p:txBody>
      </p:sp>
      <p:sp>
        <p:nvSpPr>
          <p:cNvPr id="7" name="Content Placeholder 4">
            <a:extLst>
              <a:ext uri="{FF2B5EF4-FFF2-40B4-BE49-F238E27FC236}">
                <a16:creationId xmlns:a16="http://schemas.microsoft.com/office/drawing/2014/main" id="{CD33F6B7-D66C-40A3-A6A6-28B25CC4CAED}"/>
              </a:ext>
            </a:extLst>
          </p:cNvPr>
          <p:cNvSpPr txBox="1">
            <a:spLocks/>
          </p:cNvSpPr>
          <p:nvPr/>
        </p:nvSpPr>
        <p:spPr>
          <a:xfrm>
            <a:off x="2018961" y="1076940"/>
            <a:ext cx="4785635" cy="4351338"/>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800100" indent="-342900" algn="l" defTabSz="914400" rtl="0" eaLnBrk="1" latinLnBrk="0" hangingPunct="1">
              <a:lnSpc>
                <a:spcPct val="90000"/>
              </a:lnSpc>
              <a:spcBef>
                <a:spcPts val="500"/>
              </a:spcBef>
              <a:buClr>
                <a:srgbClr val="0D6CB9"/>
              </a:buClr>
              <a:buFont typeface="Arial" panose="020B060402020202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chemeClr val="accent2"/>
              </a:buClr>
              <a:buSzPct val="75000"/>
              <a:buFont typeface="Courier New" panose="02070309020205020404" pitchFamily="49" charset="0"/>
              <a:buChar char="o"/>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0D6CB9"/>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Wingdings" panose="05000000000000000000" pitchFamily="2" charset="2"/>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URRENT TSDS</a:t>
            </a:r>
          </a:p>
          <a:p>
            <a:pPr lvl="1">
              <a:buFont typeface="Wingdings" panose="05000000000000000000" pitchFamily="2" charset="2"/>
              <a:buChar char="§"/>
            </a:pPr>
            <a:r>
              <a:rPr lang="en-US" sz="2200" dirty="0"/>
              <a:t>Data extracted with </a:t>
            </a:r>
            <a:r>
              <a:rPr lang="en-US" sz="2200" b="1" dirty="0"/>
              <a:t>XML files </a:t>
            </a:r>
            <a:r>
              <a:rPr lang="en-US" sz="2200" dirty="0"/>
              <a:t>from source systems and submitted by LEAs </a:t>
            </a:r>
          </a:p>
          <a:p>
            <a:pPr lvl="1">
              <a:buFont typeface="Wingdings" panose="05000000000000000000" pitchFamily="2" charset="2"/>
              <a:buChar char="§"/>
            </a:pPr>
            <a:r>
              <a:rPr lang="en-US" sz="2200" b="1" dirty="0"/>
              <a:t>Vendors provide calculated values</a:t>
            </a:r>
            <a:r>
              <a:rPr lang="en-US" sz="2200" dirty="0"/>
              <a:t>,</a:t>
            </a:r>
            <a:r>
              <a:rPr lang="en-US" sz="2200" b="1" dirty="0"/>
              <a:t> </a:t>
            </a:r>
            <a:r>
              <a:rPr lang="en-US" sz="2200" dirty="0"/>
              <a:t>such as Eligible Days Present for a six-weeks period</a:t>
            </a:r>
          </a:p>
          <a:p>
            <a:pPr lvl="1">
              <a:buFont typeface="Wingdings" panose="05000000000000000000" pitchFamily="2" charset="2"/>
              <a:buChar char="§"/>
            </a:pPr>
            <a:r>
              <a:rPr lang="en-US" sz="2200" dirty="0"/>
              <a:t>Based upon </a:t>
            </a:r>
            <a:r>
              <a:rPr lang="en-US" sz="2200" b="1" dirty="0"/>
              <a:t>Ed-Fi 1.0 </a:t>
            </a:r>
            <a:r>
              <a:rPr lang="en-US" sz="2200" dirty="0"/>
              <a:t>Data Standards </a:t>
            </a:r>
          </a:p>
          <a:p>
            <a:pPr lvl="1">
              <a:buFont typeface="Wingdings" panose="05000000000000000000" pitchFamily="2" charset="2"/>
              <a:buChar char="§"/>
            </a:pPr>
            <a:r>
              <a:rPr lang="en-US" sz="2200" b="1" dirty="0"/>
              <a:t>Separate</a:t>
            </a:r>
            <a:r>
              <a:rPr lang="en-US" sz="2200" dirty="0"/>
              <a:t> </a:t>
            </a:r>
            <a:r>
              <a:rPr lang="en-US" sz="2200" b="1" dirty="0"/>
              <a:t>collections </a:t>
            </a:r>
            <a:r>
              <a:rPr lang="en-US" sz="2200" dirty="0"/>
              <a:t>in the ODS (PEIMS &amp; TSDS CORE) </a:t>
            </a:r>
          </a:p>
          <a:p>
            <a:pPr lvl="1">
              <a:buFont typeface="Wingdings" panose="05000000000000000000" pitchFamily="2" charset="2"/>
              <a:buChar char="§"/>
            </a:pPr>
            <a:r>
              <a:rPr lang="en-US" sz="2200" dirty="0"/>
              <a:t>Most validations </a:t>
            </a:r>
            <a:r>
              <a:rPr lang="en-US" sz="2200" b="1" dirty="0"/>
              <a:t>downstream</a:t>
            </a:r>
          </a:p>
        </p:txBody>
      </p:sp>
      <p:sp>
        <p:nvSpPr>
          <p:cNvPr id="8" name="Text Placeholder 5">
            <a:extLst>
              <a:ext uri="{FF2B5EF4-FFF2-40B4-BE49-F238E27FC236}">
                <a16:creationId xmlns:a16="http://schemas.microsoft.com/office/drawing/2014/main" id="{C803C16E-3BDE-4B69-B5F2-1B69A11EFDE7}"/>
              </a:ext>
            </a:extLst>
          </p:cNvPr>
          <p:cNvSpPr txBox="1">
            <a:spLocks/>
          </p:cNvSpPr>
          <p:nvPr/>
        </p:nvSpPr>
        <p:spPr>
          <a:xfrm>
            <a:off x="7046975" y="1076940"/>
            <a:ext cx="4785635" cy="4216956"/>
          </a:xfrm>
          <a:prstGeom prst="rect">
            <a:avLst/>
          </a:prstGeom>
          <a:solidFill>
            <a:schemeClr val="accent1"/>
          </a:solidFill>
        </p:spPr>
        <p:txBody>
          <a:bodyPr lIns="91440" tIns="45720" rIns="91440" bIns="45720" anchor="t"/>
          <a:lstStyle>
            <a:lvl1pPr marL="228600" indent="-228600" algn="l" defTabSz="914400" rtl="0" eaLnBrk="1" latinLnBrk="0" hangingPunct="1">
              <a:lnSpc>
                <a:spcPct val="90000"/>
              </a:lnSpc>
              <a:spcBef>
                <a:spcPts val="1000"/>
              </a:spcBef>
              <a:buClr>
                <a:schemeClr val="bg2"/>
              </a:buClr>
              <a:buFont typeface="Wingdings" panose="05000000000000000000" pitchFamily="2" charset="2"/>
              <a:buChar char="§"/>
              <a:defRPr sz="28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chemeClr val="bg2"/>
              </a:buClr>
              <a:buFont typeface="Wingdings" panose="05000000000000000000" pitchFamily="2" charset="2"/>
              <a:buChar char="§"/>
              <a:defRPr sz="24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chemeClr val="bg2"/>
              </a:buClr>
              <a:buFont typeface="Wingdings" panose="05000000000000000000" pitchFamily="2" charset="2"/>
              <a:buChar char="§"/>
              <a:defRPr sz="20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chemeClr val="bg2"/>
              </a:buClr>
              <a:buFont typeface="Wingdings" panose="05000000000000000000" pitchFamily="2" charset="2"/>
              <a:buChar char="§"/>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SDS ODS 3.x</a:t>
            </a:r>
          </a:p>
          <a:p>
            <a:pPr lvl="1"/>
            <a:r>
              <a:rPr lang="en-US" sz="2200" dirty="0"/>
              <a:t>Data submitted with </a:t>
            </a:r>
            <a:r>
              <a:rPr lang="en-US" sz="2200" b="1" dirty="0"/>
              <a:t>Application Program Interface (API) </a:t>
            </a:r>
            <a:r>
              <a:rPr lang="en-US" sz="2200" dirty="0"/>
              <a:t>transactions</a:t>
            </a:r>
          </a:p>
          <a:p>
            <a:pPr lvl="1"/>
            <a:r>
              <a:rPr lang="en-US" sz="2200" b="1" dirty="0"/>
              <a:t>TEA calculates values </a:t>
            </a:r>
            <a:r>
              <a:rPr lang="en-US" sz="2200" dirty="0"/>
              <a:t>based on the transactional data from the LEA’s ODS</a:t>
            </a:r>
            <a:endParaRPr lang="en-US" sz="2200" b="1" dirty="0">
              <a:cs typeface="Calibri"/>
            </a:endParaRPr>
          </a:p>
          <a:p>
            <a:pPr lvl="1">
              <a:buFont typeface="Wingdings" panose="05000000000000000000" pitchFamily="2" charset="2"/>
              <a:buChar char="§"/>
            </a:pPr>
            <a:r>
              <a:rPr lang="en-US" sz="2200" dirty="0"/>
              <a:t>Based upon </a:t>
            </a:r>
            <a:r>
              <a:rPr lang="en-US" sz="2200" b="1" dirty="0"/>
              <a:t>Ed-Fi 3.x </a:t>
            </a:r>
            <a:r>
              <a:rPr lang="en-US" sz="2200" dirty="0"/>
              <a:t>Data Standards </a:t>
            </a:r>
          </a:p>
          <a:p>
            <a:pPr lvl="1"/>
            <a:r>
              <a:rPr lang="en-US" sz="2200" b="1" dirty="0"/>
              <a:t>Effective dating </a:t>
            </a:r>
            <a:r>
              <a:rPr lang="en-US" sz="2200" dirty="0"/>
              <a:t>for TEA submissions</a:t>
            </a:r>
            <a:endParaRPr lang="en-US" sz="2200" dirty="0">
              <a:cs typeface="Calibri"/>
            </a:endParaRPr>
          </a:p>
          <a:p>
            <a:pPr lvl="1"/>
            <a:r>
              <a:rPr lang="en-US" sz="2200" dirty="0"/>
              <a:t>More</a:t>
            </a:r>
            <a:r>
              <a:rPr lang="en-US" sz="2200" b="1" dirty="0"/>
              <a:t> </a:t>
            </a:r>
            <a:r>
              <a:rPr lang="en-US" sz="2200" dirty="0"/>
              <a:t>validations at </a:t>
            </a:r>
            <a:r>
              <a:rPr lang="en-US" sz="2200" b="1" dirty="0"/>
              <a:t>local level</a:t>
            </a:r>
          </a:p>
        </p:txBody>
      </p:sp>
      <p:sp>
        <p:nvSpPr>
          <p:cNvPr id="5" name="Callout: Up Arrow 4">
            <a:extLst>
              <a:ext uri="{FF2B5EF4-FFF2-40B4-BE49-F238E27FC236}">
                <a16:creationId xmlns:a16="http://schemas.microsoft.com/office/drawing/2014/main" id="{63788FB9-2D70-463C-8745-CDC6A815AD5F}"/>
              </a:ext>
            </a:extLst>
          </p:cNvPr>
          <p:cNvSpPr/>
          <p:nvPr/>
        </p:nvSpPr>
        <p:spPr>
          <a:xfrm>
            <a:off x="2220650" y="5428276"/>
            <a:ext cx="4583946" cy="1065601"/>
          </a:xfrm>
          <a:prstGeom prst="upArrowCallout">
            <a:avLst/>
          </a:prstGeom>
          <a:solidFill>
            <a:schemeClr val="accent1">
              <a:alpha val="50000"/>
            </a:schemeClr>
          </a:solidFill>
          <a:ln>
            <a:noFill/>
          </a:ln>
          <a:effectLst>
            <a:outerShdw blurRad="76200" dist="12700" dir="2700000" sy="-23000" kx="-800400" algn="bl"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2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MANUAL DATA LOADS</a:t>
            </a:r>
          </a:p>
        </p:txBody>
      </p:sp>
      <p:sp>
        <p:nvSpPr>
          <p:cNvPr id="11" name="Callout: Up Arrow 10">
            <a:extLst>
              <a:ext uri="{FF2B5EF4-FFF2-40B4-BE49-F238E27FC236}">
                <a16:creationId xmlns:a16="http://schemas.microsoft.com/office/drawing/2014/main" id="{1DDE3C1E-5F8A-4482-B045-A5D442EA76D5}"/>
              </a:ext>
            </a:extLst>
          </p:cNvPr>
          <p:cNvSpPr/>
          <p:nvPr/>
        </p:nvSpPr>
        <p:spPr>
          <a:xfrm>
            <a:off x="7160782" y="5428276"/>
            <a:ext cx="4583946" cy="1049820"/>
          </a:xfrm>
          <a:prstGeom prst="upArrowCallout">
            <a:avLst/>
          </a:prstGeom>
          <a:solidFill>
            <a:schemeClr val="accent1">
              <a:alpha val="50000"/>
            </a:schemeClr>
          </a:solidFill>
          <a:ln>
            <a:noFill/>
          </a:ln>
          <a:effectLst>
            <a:outerShdw blurRad="76200" dist="12700" dir="2700000" sy="-23000" kx="-800400" algn="bl" rotWithShape="0">
              <a:prstClr val="black">
                <a:alpha val="20000"/>
              </a:prstClr>
            </a:outerShdw>
          </a:effectLst>
        </p:spPr>
        <p:style>
          <a:lnRef idx="0">
            <a:scrgbClr r="0" g="0" b="0"/>
          </a:lnRef>
          <a:fillRef idx="0">
            <a:scrgbClr r="0" g="0" b="0"/>
          </a:fillRef>
          <a:effectRef idx="0">
            <a:scrgbClr r="0" g="0" b="0"/>
          </a:effectRef>
          <a:fontRef idx="minor">
            <a:schemeClr val="lt1"/>
          </a:fontRef>
        </p:style>
        <p:txBody>
          <a:bodyPr rtlCol="0" anchor="ctr"/>
          <a:lstStyle/>
          <a:p>
            <a:pPr algn="ctr"/>
            <a:r>
              <a:rPr lang="en-US" sz="2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AUTOMATED API LOADS </a:t>
            </a:r>
          </a:p>
        </p:txBody>
      </p:sp>
    </p:spTree>
    <p:extLst>
      <p:ext uri="{BB962C8B-B14F-4D97-AF65-F5344CB8AC3E}">
        <p14:creationId xmlns:p14="http://schemas.microsoft.com/office/powerpoint/2010/main" val="27700826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4002-723C-43C5-982B-12367EB9C9C1}"/>
              </a:ext>
            </a:extLst>
          </p:cNvPr>
          <p:cNvSpPr>
            <a:spLocks noGrp="1"/>
          </p:cNvSpPr>
          <p:nvPr>
            <p:ph type="title"/>
          </p:nvPr>
        </p:nvSpPr>
        <p:spPr/>
        <p:txBody>
          <a:bodyPr/>
          <a:lstStyle/>
          <a:p>
            <a:r>
              <a:rPr lang="en-US" dirty="0"/>
              <a:t>ODS 3.x ARCHITECTURE</a:t>
            </a:r>
          </a:p>
        </p:txBody>
      </p:sp>
      <p:pic>
        <p:nvPicPr>
          <p:cNvPr id="13" name="Picture 12" descr="Planned ODS 3.x architecture diagram to show the components and system flow.">
            <a:extLst>
              <a:ext uri="{FF2B5EF4-FFF2-40B4-BE49-F238E27FC236}">
                <a16:creationId xmlns:a16="http://schemas.microsoft.com/office/drawing/2014/main" id="{6CFA2A6C-615A-41D0-8239-03F80B5FE935}"/>
              </a:ext>
            </a:extLst>
          </p:cNvPr>
          <p:cNvPicPr>
            <a:picLocks noChangeAspect="1"/>
          </p:cNvPicPr>
          <p:nvPr/>
        </p:nvPicPr>
        <p:blipFill>
          <a:blip r:embed="rId3"/>
          <a:stretch>
            <a:fillRect/>
          </a:stretch>
        </p:blipFill>
        <p:spPr>
          <a:xfrm>
            <a:off x="516076" y="1110315"/>
            <a:ext cx="8260536" cy="4879869"/>
          </a:xfrm>
          <a:prstGeom prst="rect">
            <a:avLst/>
          </a:prstGeom>
        </p:spPr>
      </p:pic>
      <p:pic>
        <p:nvPicPr>
          <p:cNvPr id="17" name="Picture 16" descr="Legenda for architecture diagram ">
            <a:extLst>
              <a:ext uri="{FF2B5EF4-FFF2-40B4-BE49-F238E27FC236}">
                <a16:creationId xmlns:a16="http://schemas.microsoft.com/office/drawing/2014/main" id="{57BCC27A-0F28-4D66-9BA4-AB8C802C95E3}"/>
              </a:ext>
            </a:extLst>
          </p:cNvPr>
          <p:cNvPicPr>
            <a:picLocks noChangeAspect="1"/>
          </p:cNvPicPr>
          <p:nvPr/>
        </p:nvPicPr>
        <p:blipFill rotWithShape="1">
          <a:blip r:embed="rId4"/>
          <a:srcRect l="4571"/>
          <a:stretch/>
        </p:blipFill>
        <p:spPr>
          <a:xfrm>
            <a:off x="9046029" y="1110315"/>
            <a:ext cx="2654383" cy="2735817"/>
          </a:xfrm>
          <a:prstGeom prst="rect">
            <a:avLst/>
          </a:prstGeom>
        </p:spPr>
      </p:pic>
    </p:spTree>
    <p:extLst>
      <p:ext uri="{BB962C8B-B14F-4D97-AF65-F5344CB8AC3E}">
        <p14:creationId xmlns:p14="http://schemas.microsoft.com/office/powerpoint/2010/main" val="3715018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4002-723C-43C5-982B-12367EB9C9C1}"/>
              </a:ext>
            </a:extLst>
          </p:cNvPr>
          <p:cNvSpPr>
            <a:spLocks noGrp="1"/>
          </p:cNvSpPr>
          <p:nvPr>
            <p:ph type="title"/>
          </p:nvPr>
        </p:nvSpPr>
        <p:spPr/>
        <p:txBody>
          <a:bodyPr/>
          <a:lstStyle/>
          <a:p>
            <a:r>
              <a:rPr lang="en-US" dirty="0"/>
              <a:t>ODS 3.x ARCHITECTURE: LANDING ZONE</a:t>
            </a:r>
          </a:p>
        </p:txBody>
      </p:sp>
      <p:pic>
        <p:nvPicPr>
          <p:cNvPr id="13" name="Picture 12" descr="Planned ODS 3.x architecture diagram to show the components and system flow.">
            <a:extLst>
              <a:ext uri="{FF2B5EF4-FFF2-40B4-BE49-F238E27FC236}">
                <a16:creationId xmlns:a16="http://schemas.microsoft.com/office/drawing/2014/main" id="{6CFA2A6C-615A-41D0-8239-03F80B5FE935}"/>
              </a:ext>
            </a:extLst>
          </p:cNvPr>
          <p:cNvPicPr>
            <a:picLocks noChangeAspect="1"/>
          </p:cNvPicPr>
          <p:nvPr/>
        </p:nvPicPr>
        <p:blipFill>
          <a:blip r:embed="rId3"/>
          <a:stretch>
            <a:fillRect/>
          </a:stretch>
        </p:blipFill>
        <p:spPr>
          <a:xfrm>
            <a:off x="516076" y="1110315"/>
            <a:ext cx="8260536" cy="4879869"/>
          </a:xfrm>
          <a:prstGeom prst="rect">
            <a:avLst/>
          </a:prstGeom>
        </p:spPr>
      </p:pic>
      <p:pic>
        <p:nvPicPr>
          <p:cNvPr id="17" name="Picture 16">
            <a:extLst>
              <a:ext uri="{FF2B5EF4-FFF2-40B4-BE49-F238E27FC236}">
                <a16:creationId xmlns:a16="http://schemas.microsoft.com/office/drawing/2014/main" id="{57BCC27A-0F28-4D66-9BA4-AB8C802C95E3}"/>
              </a:ext>
            </a:extLst>
          </p:cNvPr>
          <p:cNvPicPr>
            <a:picLocks noChangeAspect="1"/>
          </p:cNvPicPr>
          <p:nvPr/>
        </p:nvPicPr>
        <p:blipFill rotWithShape="1">
          <a:blip r:embed="rId4"/>
          <a:srcRect l="4571"/>
          <a:stretch/>
        </p:blipFill>
        <p:spPr>
          <a:xfrm>
            <a:off x="9046029" y="1110315"/>
            <a:ext cx="2654383" cy="2735817"/>
          </a:xfrm>
          <a:prstGeom prst="rect">
            <a:avLst/>
          </a:prstGeom>
        </p:spPr>
      </p:pic>
      <p:sp>
        <p:nvSpPr>
          <p:cNvPr id="5" name="Rectangle 4">
            <a:extLst>
              <a:ext uri="{FF2B5EF4-FFF2-40B4-BE49-F238E27FC236}">
                <a16:creationId xmlns:a16="http://schemas.microsoft.com/office/drawing/2014/main" id="{226F762B-B7A5-4DB6-95A6-EA8E37A53EE8}"/>
              </a:ext>
            </a:extLst>
          </p:cNvPr>
          <p:cNvSpPr/>
          <p:nvPr/>
        </p:nvSpPr>
        <p:spPr>
          <a:xfrm>
            <a:off x="3571168" y="1110315"/>
            <a:ext cx="8082275" cy="4798497"/>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grpSp>
        <p:nvGrpSpPr>
          <p:cNvPr id="6" name="Group 5">
            <a:extLst>
              <a:ext uri="{FF2B5EF4-FFF2-40B4-BE49-F238E27FC236}">
                <a16:creationId xmlns:a16="http://schemas.microsoft.com/office/drawing/2014/main" id="{2CF6C9D3-F422-46EC-AA9A-B52D3454F1CA}"/>
              </a:ext>
            </a:extLst>
          </p:cNvPr>
          <p:cNvGrpSpPr/>
          <p:nvPr/>
        </p:nvGrpSpPr>
        <p:grpSpPr>
          <a:xfrm>
            <a:off x="3392907" y="2148289"/>
            <a:ext cx="4865395" cy="3294044"/>
            <a:chOff x="4483321" y="3132390"/>
            <a:chExt cx="4865395" cy="3023717"/>
          </a:xfrm>
        </p:grpSpPr>
        <p:sp>
          <p:nvSpPr>
            <p:cNvPr id="7" name="Callout: Left Arrow 6">
              <a:extLst>
                <a:ext uri="{FF2B5EF4-FFF2-40B4-BE49-F238E27FC236}">
                  <a16:creationId xmlns:a16="http://schemas.microsoft.com/office/drawing/2014/main" id="{CD683275-4387-47EF-A20C-CD5F6FA10BE9}"/>
                </a:ext>
              </a:extLst>
            </p:cNvPr>
            <p:cNvSpPr/>
            <p:nvPr/>
          </p:nvSpPr>
          <p:spPr>
            <a:xfrm>
              <a:off x="4483321" y="3132390"/>
              <a:ext cx="4865395" cy="3023717"/>
            </a:xfrm>
            <a:prstGeom prst="leftArrowCallout">
              <a:avLst/>
            </a:prstGeom>
            <a:solidFill>
              <a:srgbClr val="B945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6C9A86CE-6B45-4B26-B511-7A67568CD33A}"/>
                </a:ext>
              </a:extLst>
            </p:cNvPr>
            <p:cNvSpPr txBox="1"/>
            <p:nvPr/>
          </p:nvSpPr>
          <p:spPr>
            <a:xfrm>
              <a:off x="6292854" y="3279492"/>
              <a:ext cx="3045130" cy="2768684"/>
            </a:xfrm>
            <a:prstGeom prst="rect">
              <a:avLst/>
            </a:prstGeom>
            <a:noFill/>
          </p:spPr>
          <p:txBody>
            <a:bodyPr wrap="square" rtlCol="0">
              <a:spAutoFit/>
            </a:bodyPr>
            <a:lstStyle/>
            <a:p>
              <a:r>
                <a:rPr lang="en-US" sz="2400" b="1" dirty="0">
                  <a:solidFill>
                    <a:schemeClr val="bg1"/>
                  </a:solidFill>
                </a:rPr>
                <a:t>Landing Zone</a:t>
              </a:r>
            </a:p>
            <a:p>
              <a:endParaRPr lang="en-US" sz="1000" b="1" dirty="0">
                <a:solidFill>
                  <a:schemeClr val="bg1"/>
                </a:solidFill>
              </a:endParaRPr>
            </a:p>
            <a:p>
              <a:pPr marL="285750" indent="-285750">
                <a:buFont typeface="Wingdings" panose="05000000000000000000" pitchFamily="2" charset="2"/>
                <a:buChar char="§"/>
              </a:pPr>
              <a:r>
                <a:rPr lang="en-US" dirty="0">
                  <a:solidFill>
                    <a:schemeClr val="bg1"/>
                  </a:solidFill>
                </a:rPr>
                <a:t>Local Ed-Fi ODS </a:t>
              </a:r>
              <a:r>
                <a:rPr lang="en-US" b="1" dirty="0">
                  <a:solidFill>
                    <a:schemeClr val="bg1"/>
                  </a:solidFill>
                </a:rPr>
                <a:t>per LEA</a:t>
              </a:r>
            </a:p>
            <a:p>
              <a:pPr marL="285750" indent="-285750">
                <a:buFont typeface="Wingdings" panose="05000000000000000000" pitchFamily="2" charset="2"/>
                <a:buChar char="§"/>
              </a:pPr>
              <a:endParaRPr lang="en-US" sz="1000" b="1" dirty="0">
                <a:solidFill>
                  <a:schemeClr val="bg1"/>
                </a:solidFill>
              </a:endParaRPr>
            </a:p>
            <a:p>
              <a:pPr marL="285750" indent="-285750">
                <a:buFont typeface="Wingdings" panose="05000000000000000000" pitchFamily="2" charset="2"/>
                <a:buChar char="§"/>
              </a:pPr>
              <a:r>
                <a:rPr lang="en-US" dirty="0">
                  <a:solidFill>
                    <a:schemeClr val="bg1"/>
                  </a:solidFill>
                </a:rPr>
                <a:t>Source system vendors will publish data via </a:t>
              </a:r>
              <a:r>
                <a:rPr lang="en-US" b="1" dirty="0">
                  <a:solidFill>
                    <a:schemeClr val="bg1"/>
                  </a:solidFill>
                </a:rPr>
                <a:t>APIs</a:t>
              </a:r>
            </a:p>
            <a:p>
              <a:pPr marL="285750" indent="-285750">
                <a:buFont typeface="Wingdings" panose="05000000000000000000" pitchFamily="2" charset="2"/>
                <a:buChar char="§"/>
              </a:pPr>
              <a:endParaRPr lang="en-US" sz="1000" dirty="0">
                <a:solidFill>
                  <a:schemeClr val="bg1"/>
                </a:solidFill>
              </a:endParaRPr>
            </a:p>
            <a:p>
              <a:pPr marL="285750" indent="-285750">
                <a:buFont typeface="Wingdings" panose="05000000000000000000" pitchFamily="2" charset="2"/>
                <a:buChar char="§"/>
              </a:pPr>
              <a:r>
                <a:rPr lang="en-US" dirty="0">
                  <a:solidFill>
                    <a:schemeClr val="bg1"/>
                  </a:solidFill>
                </a:rPr>
                <a:t>LEAs will be able to run validations &amp; view data through </a:t>
              </a:r>
              <a:r>
                <a:rPr lang="en-US" b="1" dirty="0">
                  <a:solidFill>
                    <a:schemeClr val="bg1"/>
                  </a:solidFill>
                </a:rPr>
                <a:t>local application</a:t>
              </a:r>
            </a:p>
            <a:p>
              <a:pPr marL="285750" indent="-285750">
                <a:buFont typeface="Wingdings" panose="05000000000000000000" pitchFamily="2" charset="2"/>
                <a:buChar char="§"/>
              </a:pPr>
              <a:endParaRPr lang="en-US" sz="800" b="1" dirty="0">
                <a:solidFill>
                  <a:schemeClr val="bg1"/>
                </a:solidFill>
              </a:endParaRPr>
            </a:p>
            <a:p>
              <a:endParaRPr lang="en-US" sz="2000" u="sng" dirty="0">
                <a:solidFill>
                  <a:schemeClr val="bg1"/>
                </a:solidFill>
              </a:endParaRPr>
            </a:p>
          </p:txBody>
        </p:sp>
      </p:grpSp>
    </p:spTree>
    <p:extLst>
      <p:ext uri="{BB962C8B-B14F-4D97-AF65-F5344CB8AC3E}">
        <p14:creationId xmlns:p14="http://schemas.microsoft.com/office/powerpoint/2010/main" val="42803754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BB4002-723C-43C5-982B-12367EB9C9C1}"/>
              </a:ext>
            </a:extLst>
          </p:cNvPr>
          <p:cNvSpPr>
            <a:spLocks noGrp="1"/>
          </p:cNvSpPr>
          <p:nvPr>
            <p:ph type="title"/>
          </p:nvPr>
        </p:nvSpPr>
        <p:spPr/>
        <p:txBody>
          <a:bodyPr/>
          <a:lstStyle/>
          <a:p>
            <a:r>
              <a:rPr lang="en-US" dirty="0"/>
              <a:t>ODS 3.x ARCHITECTURE: TRANSITION ZONE</a:t>
            </a:r>
          </a:p>
        </p:txBody>
      </p:sp>
      <p:pic>
        <p:nvPicPr>
          <p:cNvPr id="13" name="Picture 12" descr="Planned ODS 3.x architecture diagram to show the components and system flow. ">
            <a:extLst>
              <a:ext uri="{FF2B5EF4-FFF2-40B4-BE49-F238E27FC236}">
                <a16:creationId xmlns:a16="http://schemas.microsoft.com/office/drawing/2014/main" id="{6CFA2A6C-615A-41D0-8239-03F80B5FE935}"/>
              </a:ext>
            </a:extLst>
          </p:cNvPr>
          <p:cNvPicPr>
            <a:picLocks noChangeAspect="1"/>
          </p:cNvPicPr>
          <p:nvPr/>
        </p:nvPicPr>
        <p:blipFill>
          <a:blip r:embed="rId3"/>
          <a:stretch>
            <a:fillRect/>
          </a:stretch>
        </p:blipFill>
        <p:spPr>
          <a:xfrm>
            <a:off x="516076" y="1110315"/>
            <a:ext cx="8260536" cy="4879869"/>
          </a:xfrm>
          <a:prstGeom prst="rect">
            <a:avLst/>
          </a:prstGeom>
        </p:spPr>
      </p:pic>
      <p:pic>
        <p:nvPicPr>
          <p:cNvPr id="17" name="Picture 16">
            <a:extLst>
              <a:ext uri="{FF2B5EF4-FFF2-40B4-BE49-F238E27FC236}">
                <a16:creationId xmlns:a16="http://schemas.microsoft.com/office/drawing/2014/main" id="{57BCC27A-0F28-4D66-9BA4-AB8C802C95E3}"/>
              </a:ext>
            </a:extLst>
          </p:cNvPr>
          <p:cNvPicPr>
            <a:picLocks noChangeAspect="1"/>
          </p:cNvPicPr>
          <p:nvPr/>
        </p:nvPicPr>
        <p:blipFill rotWithShape="1">
          <a:blip r:embed="rId4"/>
          <a:srcRect l="4571"/>
          <a:stretch/>
        </p:blipFill>
        <p:spPr>
          <a:xfrm>
            <a:off x="9046029" y="1110315"/>
            <a:ext cx="2654383" cy="2735817"/>
          </a:xfrm>
          <a:prstGeom prst="rect">
            <a:avLst/>
          </a:prstGeom>
        </p:spPr>
      </p:pic>
      <p:sp>
        <p:nvSpPr>
          <p:cNvPr id="5" name="Rectangle 4" descr="Translucent image to cover areas of the diagram not in discussion">
            <a:extLst>
              <a:ext uri="{FF2B5EF4-FFF2-40B4-BE49-F238E27FC236}">
                <a16:creationId xmlns:a16="http://schemas.microsoft.com/office/drawing/2014/main" id="{226F762B-B7A5-4DB6-95A6-EA8E37A53EE8}"/>
              </a:ext>
            </a:extLst>
          </p:cNvPr>
          <p:cNvSpPr/>
          <p:nvPr/>
        </p:nvSpPr>
        <p:spPr>
          <a:xfrm>
            <a:off x="4882073" y="1110315"/>
            <a:ext cx="6951964" cy="4879869"/>
          </a:xfrm>
          <a:prstGeom prst="rect">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Data</a:t>
            </a:r>
          </a:p>
        </p:txBody>
      </p:sp>
      <p:grpSp>
        <p:nvGrpSpPr>
          <p:cNvPr id="6" name="Group 5">
            <a:extLst>
              <a:ext uri="{FF2B5EF4-FFF2-40B4-BE49-F238E27FC236}">
                <a16:creationId xmlns:a16="http://schemas.microsoft.com/office/drawing/2014/main" id="{2CF6C9D3-F422-46EC-AA9A-B52D3454F1CA}"/>
              </a:ext>
            </a:extLst>
          </p:cNvPr>
          <p:cNvGrpSpPr/>
          <p:nvPr/>
        </p:nvGrpSpPr>
        <p:grpSpPr>
          <a:xfrm>
            <a:off x="4895136" y="2159305"/>
            <a:ext cx="4865395" cy="3545371"/>
            <a:chOff x="4483321" y="3132389"/>
            <a:chExt cx="4865395" cy="3263086"/>
          </a:xfrm>
        </p:grpSpPr>
        <p:sp>
          <p:nvSpPr>
            <p:cNvPr id="7" name="Callout: Left Arrow 6">
              <a:extLst>
                <a:ext uri="{FF2B5EF4-FFF2-40B4-BE49-F238E27FC236}">
                  <a16:creationId xmlns:a16="http://schemas.microsoft.com/office/drawing/2014/main" id="{CD683275-4387-47EF-A20C-CD5F6FA10BE9}"/>
                </a:ext>
              </a:extLst>
            </p:cNvPr>
            <p:cNvSpPr/>
            <p:nvPr/>
          </p:nvSpPr>
          <p:spPr>
            <a:xfrm>
              <a:off x="4483321" y="3132389"/>
              <a:ext cx="4865395" cy="3194004"/>
            </a:xfrm>
            <a:prstGeom prst="leftArrowCallout">
              <a:avLst/>
            </a:prstGeom>
            <a:solidFill>
              <a:srgbClr val="6A5487"/>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6C9A86CE-6B45-4B26-B511-7A67568CD33A}"/>
                </a:ext>
              </a:extLst>
            </p:cNvPr>
            <p:cNvSpPr txBox="1"/>
            <p:nvPr/>
          </p:nvSpPr>
          <p:spPr>
            <a:xfrm>
              <a:off x="6292854" y="3279492"/>
              <a:ext cx="3045130" cy="3115983"/>
            </a:xfrm>
            <a:prstGeom prst="rect">
              <a:avLst/>
            </a:prstGeom>
            <a:noFill/>
          </p:spPr>
          <p:txBody>
            <a:bodyPr wrap="square" rtlCol="0">
              <a:spAutoFit/>
            </a:bodyPr>
            <a:lstStyle/>
            <a:p>
              <a:r>
                <a:rPr lang="en-US" sz="2400" b="1" dirty="0">
                  <a:solidFill>
                    <a:schemeClr val="bg1"/>
                  </a:solidFill>
                </a:rPr>
                <a:t>Transition Zone</a:t>
              </a:r>
            </a:p>
            <a:p>
              <a:endParaRPr lang="en-US" sz="1000" b="1" dirty="0">
                <a:solidFill>
                  <a:schemeClr val="bg1"/>
                </a:solidFill>
              </a:endParaRPr>
            </a:p>
            <a:p>
              <a:pPr marL="285750" indent="-285750">
                <a:buFont typeface="Wingdings" panose="05000000000000000000" pitchFamily="2" charset="2"/>
                <a:buChar char="§"/>
              </a:pPr>
              <a:r>
                <a:rPr lang="en-US" b="1" dirty="0">
                  <a:solidFill>
                    <a:schemeClr val="bg1"/>
                  </a:solidFill>
                </a:rPr>
                <a:t>Near real-time </a:t>
              </a:r>
              <a:r>
                <a:rPr lang="en-US" dirty="0">
                  <a:solidFill>
                    <a:schemeClr val="bg1"/>
                  </a:solidFill>
                </a:rPr>
                <a:t>data pulls from Landing Zone</a:t>
              </a:r>
            </a:p>
            <a:p>
              <a:pPr marL="285750" indent="-285750">
                <a:buFont typeface="Wingdings" panose="05000000000000000000" pitchFamily="2" charset="2"/>
                <a:buChar char="§"/>
              </a:pPr>
              <a:endParaRPr lang="en-US" sz="1000" dirty="0">
                <a:solidFill>
                  <a:schemeClr val="bg1"/>
                </a:solidFill>
              </a:endParaRPr>
            </a:p>
            <a:p>
              <a:pPr marL="285750" indent="-285750">
                <a:buFont typeface="Wingdings" panose="05000000000000000000" pitchFamily="2" charset="2"/>
                <a:buChar char="§"/>
              </a:pPr>
              <a:r>
                <a:rPr lang="en-US" dirty="0">
                  <a:solidFill>
                    <a:schemeClr val="bg1"/>
                  </a:solidFill>
                </a:rPr>
                <a:t>Landing Zone will filter and allow </a:t>
              </a:r>
              <a:r>
                <a:rPr lang="en-US" b="1" dirty="0">
                  <a:solidFill>
                    <a:schemeClr val="bg1"/>
                  </a:solidFill>
                </a:rPr>
                <a:t>only TSDS mandated</a:t>
              </a:r>
              <a:r>
                <a:rPr lang="en-US" dirty="0">
                  <a:solidFill>
                    <a:schemeClr val="bg1"/>
                  </a:solidFill>
                </a:rPr>
                <a:t> data to be </a:t>
              </a:r>
              <a:r>
                <a:rPr lang="en-US" b="1" dirty="0">
                  <a:solidFill>
                    <a:schemeClr val="bg1"/>
                  </a:solidFill>
                </a:rPr>
                <a:t>pulled</a:t>
              </a:r>
            </a:p>
            <a:p>
              <a:pPr marL="285750" indent="-285750">
                <a:buFont typeface="Wingdings" panose="05000000000000000000" pitchFamily="2" charset="2"/>
                <a:buChar char="§"/>
              </a:pPr>
              <a:endParaRPr lang="en-US" sz="1000" dirty="0">
                <a:solidFill>
                  <a:schemeClr val="bg1"/>
                </a:solidFill>
              </a:endParaRPr>
            </a:p>
            <a:p>
              <a:pPr marL="285750" indent="-285750">
                <a:buFont typeface="Wingdings" panose="05000000000000000000" pitchFamily="2" charset="2"/>
                <a:buChar char="§"/>
              </a:pPr>
              <a:r>
                <a:rPr lang="en-US" dirty="0">
                  <a:solidFill>
                    <a:schemeClr val="bg1"/>
                  </a:solidFill>
                </a:rPr>
                <a:t>LEAs </a:t>
              </a:r>
              <a:r>
                <a:rPr lang="en-US" b="1" dirty="0">
                  <a:solidFill>
                    <a:schemeClr val="bg1"/>
                  </a:solidFill>
                </a:rPr>
                <a:t>promote</a:t>
              </a:r>
              <a:r>
                <a:rPr lang="en-US" dirty="0">
                  <a:solidFill>
                    <a:schemeClr val="bg1"/>
                  </a:solidFill>
                </a:rPr>
                <a:t> and </a:t>
              </a:r>
              <a:r>
                <a:rPr lang="en-US" b="1" dirty="0">
                  <a:solidFill>
                    <a:schemeClr val="bg1"/>
                  </a:solidFill>
                </a:rPr>
                <a:t>complete</a:t>
              </a:r>
              <a:r>
                <a:rPr lang="en-US" dirty="0">
                  <a:solidFill>
                    <a:schemeClr val="bg1"/>
                  </a:solidFill>
                </a:rPr>
                <a:t> data submissions as they do now</a:t>
              </a:r>
            </a:p>
            <a:p>
              <a:pPr marL="285750" indent="-285750">
                <a:buFont typeface="Wingdings" panose="05000000000000000000" pitchFamily="2" charset="2"/>
                <a:buChar char="§"/>
              </a:pPr>
              <a:endParaRPr lang="en-US" dirty="0">
                <a:solidFill>
                  <a:schemeClr val="bg1"/>
                </a:solidFill>
              </a:endParaRPr>
            </a:p>
          </p:txBody>
        </p:sp>
      </p:grpSp>
    </p:spTree>
    <p:extLst>
      <p:ext uri="{BB962C8B-B14F-4D97-AF65-F5344CB8AC3E}">
        <p14:creationId xmlns:p14="http://schemas.microsoft.com/office/powerpoint/2010/main" val="19693283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descr="Diagram&#10;&#10;Description automatically generated">
            <a:extLst>
              <a:ext uri="{FF2B5EF4-FFF2-40B4-BE49-F238E27FC236}">
                <a16:creationId xmlns:a16="http://schemas.microsoft.com/office/drawing/2014/main" id="{C2EDC43E-E619-4C9E-A566-4603FE7B683F}"/>
              </a:ext>
            </a:extLst>
          </p:cNvPr>
          <p:cNvPicPr>
            <a:picLocks noGrp="1" noChangeAspect="1"/>
          </p:cNvPicPr>
          <p:nvPr>
            <p:ph idx="1"/>
          </p:nvPr>
        </p:nvPicPr>
        <p:blipFill>
          <a:blip r:embed="rId3"/>
          <a:stretch>
            <a:fillRect/>
          </a:stretch>
        </p:blipFill>
        <p:spPr>
          <a:xfrm>
            <a:off x="200435" y="1452519"/>
            <a:ext cx="9548558" cy="4351338"/>
          </a:xfrm>
        </p:spPr>
      </p:pic>
      <p:pic>
        <p:nvPicPr>
          <p:cNvPr id="6" name="Picture 6">
            <a:extLst>
              <a:ext uri="{FF2B5EF4-FFF2-40B4-BE49-F238E27FC236}">
                <a16:creationId xmlns:a16="http://schemas.microsoft.com/office/drawing/2014/main" id="{1927622E-CBBB-47DB-A95E-B2B5CCCE762C}"/>
              </a:ext>
            </a:extLst>
          </p:cNvPr>
          <p:cNvPicPr>
            <a:picLocks noChangeAspect="1"/>
          </p:cNvPicPr>
          <p:nvPr/>
        </p:nvPicPr>
        <p:blipFill rotWithShape="1">
          <a:blip r:embed="rId4"/>
          <a:srcRect t="5781"/>
          <a:stretch/>
        </p:blipFill>
        <p:spPr>
          <a:xfrm>
            <a:off x="9828362" y="1558344"/>
            <a:ext cx="2283125" cy="1688291"/>
          </a:xfrm>
          <a:prstGeom prst="rect">
            <a:avLst/>
          </a:prstGeom>
        </p:spPr>
      </p:pic>
      <p:sp>
        <p:nvSpPr>
          <p:cNvPr id="4" name="Title 3">
            <a:extLst>
              <a:ext uri="{FF2B5EF4-FFF2-40B4-BE49-F238E27FC236}">
                <a16:creationId xmlns:a16="http://schemas.microsoft.com/office/drawing/2014/main" id="{DC1A52C8-A315-4AD0-B964-7EEE7913D36E}"/>
              </a:ext>
            </a:extLst>
          </p:cNvPr>
          <p:cNvSpPr>
            <a:spLocks noGrp="1"/>
          </p:cNvSpPr>
          <p:nvPr>
            <p:ph type="title"/>
          </p:nvPr>
        </p:nvSpPr>
        <p:spPr/>
        <p:txBody>
          <a:bodyPr/>
          <a:lstStyle/>
          <a:p>
            <a:r>
              <a:rPr lang="en-US" dirty="0"/>
              <a:t>ODS 3.x USER PROCESS FLOW</a:t>
            </a:r>
          </a:p>
        </p:txBody>
      </p:sp>
    </p:spTree>
    <p:extLst>
      <p:ext uri="{BB962C8B-B14F-4D97-AF65-F5344CB8AC3E}">
        <p14:creationId xmlns:p14="http://schemas.microsoft.com/office/powerpoint/2010/main" val="17149416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TEA New">
      <a:dk1>
        <a:sysClr val="windowText" lastClr="000000"/>
      </a:dk1>
      <a:lt1>
        <a:sysClr val="window" lastClr="FFFFFF"/>
      </a:lt1>
      <a:dk2>
        <a:srgbClr val="005786"/>
      </a:dk2>
      <a:lt2>
        <a:srgbClr val="D8D8D8"/>
      </a:lt2>
      <a:accent1>
        <a:srgbClr val="0D6CB9"/>
      </a:accent1>
      <a:accent2>
        <a:srgbClr val="F16038"/>
      </a:accent2>
      <a:accent3>
        <a:srgbClr val="DA3E26"/>
      </a:accent3>
      <a:accent4>
        <a:srgbClr val="70417F"/>
      </a:accent4>
      <a:accent5>
        <a:srgbClr val="363534"/>
      </a:accent5>
      <a:accent6>
        <a:srgbClr val="00486E"/>
      </a:accent6>
      <a:hlink>
        <a:srgbClr val="1682C5"/>
      </a:hlink>
      <a:folHlink>
        <a:srgbClr val="F0603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emplate_Light_final" id="{712AB9BE-00F5-7D4D-8B53-79204D405D6C}" vid="{9E252461-6384-0041-871F-3A45EC6C616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7BE4C68E97640479F3D791B3E26A918" ma:contentTypeVersion="9" ma:contentTypeDescription="Create a new document." ma:contentTypeScope="" ma:versionID="e6b2f02822055de33514714c5681e253">
  <xsd:schema xmlns:xsd="http://www.w3.org/2001/XMLSchema" xmlns:xs="http://www.w3.org/2001/XMLSchema" xmlns:p="http://schemas.microsoft.com/office/2006/metadata/properties" xmlns:ns2="963efe96-9f3c-464d-8c8b-c76864a22ed0" xmlns:ns3="533e3360-6378-4210-ada2-16ccdb17d2cd" targetNamespace="http://schemas.microsoft.com/office/2006/metadata/properties" ma:root="true" ma:fieldsID="c39b5a19f8d5a3b3f970603ec1ec5742" ns2:_="" ns3:_="">
    <xsd:import namespace="963efe96-9f3c-464d-8c8b-c76864a22ed0"/>
    <xsd:import namespace="533e3360-6378-4210-ada2-16ccdb17d2c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3efe96-9f3c-464d-8c8b-c76864a22e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3e3360-6378-4210-ada2-16ccdb17d2c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533e3360-6378-4210-ada2-16ccdb17d2cd">
      <UserInfo>
        <DisplayName>Shipper, Leanne</DisplayName>
        <AccountId>73</AccountId>
        <AccountType/>
      </UserInfo>
      <UserInfo>
        <DisplayName>Johnson, Scott</DisplayName>
        <AccountId>20</AccountId>
        <AccountType/>
      </UserInfo>
    </SharedWithUsers>
  </documentManagement>
</p:properties>
</file>

<file path=customXml/itemProps1.xml><?xml version="1.0" encoding="utf-8"?>
<ds:datastoreItem xmlns:ds="http://schemas.openxmlformats.org/officeDocument/2006/customXml" ds:itemID="{D438415F-CA52-4AC6-B74C-FE95CEB90D10}">
  <ds:schemaRefs>
    <ds:schemaRef ds:uri="http://schemas.microsoft.com/sharepoint/v3/contenttype/forms"/>
  </ds:schemaRefs>
</ds:datastoreItem>
</file>

<file path=customXml/itemProps2.xml><?xml version="1.0" encoding="utf-8"?>
<ds:datastoreItem xmlns:ds="http://schemas.openxmlformats.org/officeDocument/2006/customXml" ds:itemID="{9177906E-AF0D-4118-B261-B1B60B8462BA}">
  <ds:schemaRefs>
    <ds:schemaRef ds:uri="533e3360-6378-4210-ada2-16ccdb17d2cd"/>
    <ds:schemaRef ds:uri="963efe96-9f3c-464d-8c8b-c76864a22ed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19692CD-7339-4E15-8B85-65EB8EAE7D52}">
  <ds:schemaRefs>
    <ds:schemaRef ds:uri="533e3360-6378-4210-ada2-16ccdb17d2cd"/>
    <ds:schemaRef ds:uri="963efe96-9f3c-464d-8c8b-c76864a22ed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EA_Presentation_Template_Light_option</Template>
  <TotalTime>165</TotalTime>
  <Words>2462</Words>
  <Application>Microsoft Office PowerPoint</Application>
  <PresentationFormat>Widescreen</PresentationFormat>
  <Paragraphs>356</Paragraphs>
  <Slides>37</Slides>
  <Notes>3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8" baseType="lpstr">
      <vt:lpstr>Arial</vt:lpstr>
      <vt:lpstr>Calibri</vt:lpstr>
      <vt:lpstr>Calibri Light</vt:lpstr>
      <vt:lpstr>Courier New</vt:lpstr>
      <vt:lpstr>Open Sans (Headings)</vt:lpstr>
      <vt:lpstr>Open Sans Light</vt:lpstr>
      <vt:lpstr>Open Sans Semibold</vt:lpstr>
      <vt:lpstr>Segoe UI</vt:lpstr>
      <vt:lpstr>Wingdings</vt:lpstr>
      <vt:lpstr>2_Office Theme</vt:lpstr>
      <vt:lpstr>think-cell Slide</vt:lpstr>
      <vt:lpstr>ODS 3.x</vt:lpstr>
      <vt:lpstr>AGENDA</vt:lpstr>
      <vt:lpstr>OFFICE OF INFORMATION TECHNOLOGY</vt:lpstr>
      <vt:lpstr>CURRENT PROCESS</vt:lpstr>
      <vt:lpstr>WHAT IS EXPECTED TO CHANGE?</vt:lpstr>
      <vt:lpstr>ODS 3.x ARCHITECTURE</vt:lpstr>
      <vt:lpstr>ODS 3.x ARCHITECTURE: LANDING ZONE</vt:lpstr>
      <vt:lpstr>ODS 3.x ARCHITECTURE: TRANSITION ZONE</vt:lpstr>
      <vt:lpstr>ODS 3.x USER PROCESS FLOW</vt:lpstr>
      <vt:lpstr>LEVELS OF VALIDATIONS</vt:lpstr>
      <vt:lpstr>ATTENDANCE AND ENROLLMENT</vt:lpstr>
      <vt:lpstr>WHAT IS REMAINING THE SAME?</vt:lpstr>
      <vt:lpstr>WHAT BENEFITS WILL THE UPGRADE PROVIDE?</vt:lpstr>
      <vt:lpstr>LOCAL USE OF ODS</vt:lpstr>
      <vt:lpstr>PHASED IMPLEMENTATION</vt:lpstr>
      <vt:lpstr>PILOT PROGRAM: 2021-2022</vt:lpstr>
      <vt:lpstr>PILOT PROGRAM: TIMELINE</vt:lpstr>
      <vt:lpstr>PARTICIPATING PILOT VENDORS</vt:lpstr>
      <vt:lpstr>VENDOR COMMUNICATIONS </vt:lpstr>
      <vt:lpstr>PARALLEL SUBMISSION</vt:lpstr>
      <vt:lpstr>LEA PARTNERSHIPS</vt:lpstr>
      <vt:lpstr>KEY TAKEAWAYS</vt:lpstr>
      <vt:lpstr>TRAINING FOR ESC CHAMPIONS</vt:lpstr>
      <vt:lpstr>TSDS TRAINING ADVISORY GROUP (TTAG)</vt:lpstr>
      <vt:lpstr>VOLUNTEERS NEEDED</vt:lpstr>
      <vt:lpstr>SUPPORTING PARALLEL SUBMISSION</vt:lpstr>
      <vt:lpstr>FREQUENTLY ASKED QUESTIONS</vt:lpstr>
      <vt:lpstr>FREQUENTLY ASKED QUESTIONS</vt:lpstr>
      <vt:lpstr>FREQUENTLY ASKED QUESTIONS</vt:lpstr>
      <vt:lpstr>FREQUENTLY ASKED QUESTIONS</vt:lpstr>
      <vt:lpstr>FREQUENTLY ASKED QUESTIONS</vt:lpstr>
      <vt:lpstr>FREQUENTLY ASKED QUESTIONS</vt:lpstr>
      <vt:lpstr>FREQUENTLY ASKED QUESTIONS</vt:lpstr>
      <vt:lpstr>TAA LETTER</vt:lpstr>
      <vt:lpstr>Questions</vt:lpstr>
      <vt:lpstr>ODS 3.x ARCHITECTURE</vt:lpstr>
      <vt:lpstr>LEVELS OF VALIDA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2 Spring Training Slides</dc:title>
  <dc:creator>Ulrich, Melanie</dc:creator>
  <cp:lastModifiedBy>Muffoletto, Jamie</cp:lastModifiedBy>
  <cp:revision>3</cp:revision>
  <dcterms:created xsi:type="dcterms:W3CDTF">2020-11-05T16:39:19Z</dcterms:created>
  <dcterms:modified xsi:type="dcterms:W3CDTF">2022-03-23T16:1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BE4C68E97640479F3D791B3E26A918</vt:lpwstr>
  </property>
</Properties>
</file>